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753" r:id="rId2"/>
    <p:sldId id="910" r:id="rId3"/>
    <p:sldId id="899" r:id="rId4"/>
    <p:sldId id="900" r:id="rId5"/>
    <p:sldId id="901" r:id="rId6"/>
    <p:sldId id="902" r:id="rId7"/>
    <p:sldId id="904" r:id="rId8"/>
    <p:sldId id="905" r:id="rId9"/>
    <p:sldId id="906" r:id="rId10"/>
    <p:sldId id="907" r:id="rId11"/>
    <p:sldId id="909" r:id="rId12"/>
    <p:sldId id="908" r:id="rId13"/>
    <p:sldId id="898" r:id="rId14"/>
    <p:sldId id="903" r:id="rId15"/>
    <p:sldId id="630" r:id="rId16"/>
  </p:sldIdLst>
  <p:sldSz cx="12192000" cy="6858000"/>
  <p:notesSz cx="6797675" cy="9928225"/>
  <p:custDataLst>
    <p:tags r:id="rId19"/>
  </p:custDataLst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87" userDrawn="1">
          <p15:clr>
            <a:srgbClr val="A4A3A4"/>
          </p15:clr>
        </p15:guide>
        <p15:guide id="2" pos="325" userDrawn="1">
          <p15:clr>
            <a:srgbClr val="A4A3A4"/>
          </p15:clr>
        </p15:guide>
        <p15:guide id="3" pos="7401">
          <p15:clr>
            <a:srgbClr val="A4A3A4"/>
          </p15:clr>
        </p15:guide>
        <p15:guide id="4" orient="horz" pos="3748" userDrawn="1">
          <p15:clr>
            <a:srgbClr val="A4A3A4"/>
          </p15:clr>
        </p15:guide>
        <p15:guide id="5" pos="2048" userDrawn="1">
          <p15:clr>
            <a:srgbClr val="A4A3A4"/>
          </p15:clr>
        </p15:guide>
        <p15:guide id="10" pos="4498" userDrawn="1">
          <p15:clr>
            <a:srgbClr val="A4A3A4"/>
          </p15:clr>
        </p15:guide>
        <p15:guide id="11" orient="horz" pos="116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ашкина Екатерина Борисовна" initials="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0E1EE"/>
    <a:srgbClr val="C00000"/>
    <a:srgbClr val="28458D"/>
    <a:srgbClr val="233C78"/>
    <a:srgbClr val="4886BE"/>
    <a:srgbClr val="10A4D2"/>
    <a:srgbClr val="163386"/>
    <a:srgbClr val="203764"/>
    <a:srgbClr val="2F75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494" autoAdjust="0"/>
    <p:restoredTop sz="95735" autoAdjust="0"/>
  </p:normalViewPr>
  <p:slideViewPr>
    <p:cSldViewPr snapToGrid="0">
      <p:cViewPr>
        <p:scale>
          <a:sx n="87" d="100"/>
          <a:sy n="87" d="100"/>
        </p:scale>
        <p:origin x="-204" y="-12"/>
      </p:cViewPr>
      <p:guideLst>
        <p:guide orient="horz" pos="187"/>
        <p:guide orient="horz" pos="3748"/>
        <p:guide orient="horz" pos="1162"/>
        <p:guide pos="325"/>
        <p:guide pos="7401"/>
        <p:guide pos="2048"/>
        <p:guide pos="449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-357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DEC0AE41-60DF-19F4-9FA2-FE6479B9AF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4037652B-8B45-6FF7-9E4A-4C33284100D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955" y="1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5B710F35-57A0-EE48-BE76-D10CAD4E74E4}" type="datetimeFigureOut">
              <a:rPr lang="ru-RU"/>
              <a:pPr>
                <a:defRPr/>
              </a:pPr>
              <a:t>15.05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0E26056A-2908-1E00-3F80-A0A0D771A3F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546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23852CD8-08E2-9907-1162-3BB07FA467E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955" y="9430546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27243AC-1598-C046-8D85-900D2E8FDC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08C85AA3-575C-8CB7-B5C8-D9DCDE8793F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806C9F1F-7402-60D7-0395-878A251A061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955" y="1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45CE0B5-28CA-C248-B3F2-233800D10280}" type="datetimeFigureOut">
              <a:rPr lang="ru-RU"/>
              <a:pPr>
                <a:defRPr/>
              </a:pPr>
              <a:t>15.05.2023</a:t>
            </a:fld>
            <a:endParaRPr lang="ru-RU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xmlns="" id="{CE7E0263-CFA0-955A-3B69-DA577429168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4" tIns="45646" rIns="91294" bIns="45646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xmlns="" id="{D9A41C39-A695-8732-BCE9-FAF57049220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0244" y="4778673"/>
            <a:ext cx="5437188" cy="3908525"/>
          </a:xfrm>
          <a:prstGeom prst="rect">
            <a:avLst/>
          </a:prstGeom>
        </p:spPr>
        <p:txBody>
          <a:bodyPr vert="horz" lIns="91294" tIns="45646" rIns="91294" bIns="45646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51ABE2CC-8F17-C4D3-D507-F9A50112BED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30546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01CAB466-6BDE-F281-67D7-2E71E3CD33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955" y="9430546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8F59DD6-E7DE-B347-B32C-56244998EE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7051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9" name="Образ слайда 1">
            <a:extLst>
              <a:ext uri="{FF2B5EF4-FFF2-40B4-BE49-F238E27FC236}">
                <a16:creationId xmlns:a16="http://schemas.microsoft.com/office/drawing/2014/main" xmlns="" id="{911285E5-B0E2-5309-D7A2-D26287B1FE0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0" name="Заметки 2">
            <a:extLst>
              <a:ext uri="{FF2B5EF4-FFF2-40B4-BE49-F238E27FC236}">
                <a16:creationId xmlns:a16="http://schemas.microsoft.com/office/drawing/2014/main" xmlns="" id="{D01B4F8B-A4CC-8451-B1E8-5B2FFC2D53C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z="1400"/>
          </a:p>
        </p:txBody>
      </p:sp>
      <p:sp>
        <p:nvSpPr>
          <p:cNvPr id="12291" name="Верхний колонтитул 4">
            <a:extLst>
              <a:ext uri="{FF2B5EF4-FFF2-40B4-BE49-F238E27FC236}">
                <a16:creationId xmlns:a16="http://schemas.microsoft.com/office/drawing/2014/main" xmlns="" id="{CA9E27B4-4731-8EF7-390E-F680B7065690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20764" cy="5388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/>
              <a:t>1</a:t>
            </a:r>
          </a:p>
        </p:txBody>
      </p:sp>
      <p:sp>
        <p:nvSpPr>
          <p:cNvPr id="12292" name="Дата 5">
            <a:extLst>
              <a:ext uri="{FF2B5EF4-FFF2-40B4-BE49-F238E27FC236}">
                <a16:creationId xmlns:a16="http://schemas.microsoft.com/office/drawing/2014/main" xmlns="" id="{CB3BE31B-FA8F-8855-0300-4182DD6B8852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6657" y="0"/>
            <a:ext cx="2919178" cy="5388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901FC64-947B-2C4C-841B-0A3D34AC1E08}" type="datetime1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15.05.202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591598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1741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72D7DBA-C7D4-4699-9138-9F8C2EECC4F4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676795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Цифровой сервис «</a:t>
            </a:r>
            <a:r>
              <a:rPr lang="ru-RU" dirty="0" err="1"/>
              <a:t>Начинайзер</a:t>
            </a:r>
            <a:r>
              <a:rPr lang="ru-RU" dirty="0"/>
              <a:t>» поможет родителям доступно объяснять ребёнку домашнее задание или тему по русскому языку и математике (система «Школа России»). </a:t>
            </a:r>
          </a:p>
          <a:p>
            <a:r>
              <a:rPr lang="ru-RU" b="1" dirty="0"/>
              <a:t>К каждой теме </a:t>
            </a:r>
            <a:r>
              <a:rPr lang="ru-RU" dirty="0"/>
              <a:t>предложены </a:t>
            </a:r>
          </a:p>
          <a:p>
            <a:pPr marL="171450" indent="-171450">
              <a:buFontTx/>
              <a:buChar char="-"/>
            </a:pPr>
            <a:r>
              <a:rPr lang="ru-RU" dirty="0"/>
              <a:t>обучающее видео</a:t>
            </a:r>
          </a:p>
          <a:p>
            <a:pPr marL="171450" indent="-171450">
              <a:buFontTx/>
              <a:buChar char="-"/>
            </a:pPr>
            <a:r>
              <a:rPr lang="ru-RU" dirty="0"/>
              <a:t>разборы заданий из учебника и рабочей тетради, </a:t>
            </a:r>
          </a:p>
          <a:p>
            <a:pPr marL="171450" indent="-171450">
              <a:buFontTx/>
              <a:buChar char="-"/>
            </a:pPr>
            <a:r>
              <a:rPr lang="ru-RU" dirty="0"/>
              <a:t>мини-тренинг </a:t>
            </a:r>
          </a:p>
          <a:p>
            <a:pPr marL="171450" indent="-171450">
              <a:buFontTx/>
              <a:buChar char="-"/>
            </a:pPr>
            <a:r>
              <a:rPr lang="ru-RU" dirty="0"/>
              <a:t>задания на отработку навыков и умений. </a:t>
            </a:r>
          </a:p>
          <a:p>
            <a:pPr marL="0" indent="0">
              <a:buFontTx/>
              <a:buNone/>
            </a:pPr>
            <a:r>
              <a:rPr lang="ru-RU" dirty="0"/>
              <a:t>Постоянные занятия с использованием сервиса способствуют развитию мотивации и улучшению образовательных результатов.  </a:t>
            </a:r>
          </a:p>
          <a:p>
            <a:pPr marL="0" indent="0">
              <a:buFontTx/>
              <a:buNone/>
            </a:pPr>
            <a:r>
              <a:rPr lang="ru-RU" dirty="0"/>
              <a:t>Сервис наполнен верифицированным контентом, разработанный практикующими учителями и экспертами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FF122A-B3D9-4422-B6CC-F52693F3BBB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1453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7" name="Образ слайда 1">
            <a:extLst>
              <a:ext uri="{FF2B5EF4-FFF2-40B4-BE49-F238E27FC236}">
                <a16:creationId xmlns:a16="http://schemas.microsoft.com/office/drawing/2014/main" xmlns="" id="{4AEBDC1E-57E0-53DA-2C7C-1F02CBD1081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5538" name="Заметки 2">
            <a:extLst>
              <a:ext uri="{FF2B5EF4-FFF2-40B4-BE49-F238E27FC236}">
                <a16:creationId xmlns:a16="http://schemas.microsoft.com/office/drawing/2014/main" xmlns="" id="{18E8A448-67FF-A273-4D8A-5E1907EA70A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z="1400"/>
          </a:p>
        </p:txBody>
      </p:sp>
      <p:sp>
        <p:nvSpPr>
          <p:cNvPr id="65539" name="Верхний колонтитул 4">
            <a:extLst>
              <a:ext uri="{FF2B5EF4-FFF2-40B4-BE49-F238E27FC236}">
                <a16:creationId xmlns:a16="http://schemas.microsoft.com/office/drawing/2014/main" xmlns="" id="{3E6E94AC-A85C-D9CC-9B9D-BF2499FED38A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3936" cy="5388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/>
              <a:t>1</a:t>
            </a:r>
          </a:p>
        </p:txBody>
      </p:sp>
      <p:sp>
        <p:nvSpPr>
          <p:cNvPr id="65540" name="Дата 5">
            <a:extLst>
              <a:ext uri="{FF2B5EF4-FFF2-40B4-BE49-F238E27FC236}">
                <a16:creationId xmlns:a16="http://schemas.microsoft.com/office/drawing/2014/main" xmlns="" id="{BD3268DD-F0ED-81FC-611F-3633C2BDFA97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9827" y="0"/>
            <a:ext cx="2923936" cy="5388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E546761-71FE-2641-BC3E-757DF1D62A84}" type="datetime1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15.05.202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33964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25076575-B14E-6F73-7BC6-0A977627B687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 smtClean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 smtClean="0">
                <a:solidFill>
                  <a:srgbClr val="233C78">
                    <a:alpha val="40000"/>
                  </a:srgbClr>
                </a:solidFill>
                <a:latin typeface="Calibri"/>
              </a:rPr>
              <a:t>3</a:t>
            </a:r>
            <a:endParaRPr lang="ru-RU" sz="1000" dirty="0">
              <a:solidFill>
                <a:srgbClr val="233C78">
                  <a:alpha val="40000"/>
                </a:srgbClr>
              </a:solidFill>
              <a:latin typeface="Calibri"/>
            </a:endParaRPr>
          </a:p>
        </p:txBody>
      </p:sp>
      <p:sp>
        <p:nvSpPr>
          <p:cNvPr id="4" name="Текст 1">
            <a:extLst>
              <a:ext uri="{FF2B5EF4-FFF2-40B4-BE49-F238E27FC236}">
                <a16:creationId xmlns:a16="http://schemas.microsoft.com/office/drawing/2014/main" xmlns="" id="{A7657630-173D-EF10-249D-8D4E8DBE8A8F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5E693BC3-FA09-7141-A0E8-7BF7E26C7440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51837" y="6093588"/>
            <a:ext cx="4432176" cy="506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3799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FE90AA-6615-4C89-89CB-F383CDD39161}" type="datetimeFigureOut">
              <a:rPr lang="ru-RU" smtClean="0"/>
              <a:t>15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ECCBD0-277D-48A6-89BE-C931F9C187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82640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748621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175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xmlns="" id="{8A16E961-8725-2E4B-8281-ADF7EC1843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4351" y="619227"/>
            <a:ext cx="1598849" cy="571796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0000" y="365125"/>
            <a:ext cx="9720000" cy="1080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rgbClr val="000A80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>
          <a:xfrm>
            <a:off x="9090000" y="6426000"/>
            <a:ext cx="2743200" cy="365125"/>
          </a:xfrm>
          <a:prstGeom prst="rect">
            <a:avLst/>
          </a:prstGeom>
        </p:spPr>
        <p:txBody>
          <a:bodyPr/>
          <a:lstStyle/>
          <a:p>
            <a:fld id="{2F22C03C-6D17-4783-A549-9F317AE3CC41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E2EFE277-878E-8141-B5F1-F87C8524B0FF}"/>
              </a:ext>
            </a:extLst>
          </p:cNvPr>
          <p:cNvSpPr/>
          <p:nvPr userDrawn="1"/>
        </p:nvSpPr>
        <p:spPr>
          <a:xfrm>
            <a:off x="360000" y="6516229"/>
            <a:ext cx="313082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120A8F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© АО «Издательство «Просвещение», 2022</a:t>
            </a:r>
          </a:p>
        </p:txBody>
      </p:sp>
      <p:sp>
        <p:nvSpPr>
          <p:cNvPr id="8" name="Объект 7"/>
          <p:cNvSpPr>
            <a:spLocks noGrp="1"/>
          </p:cNvSpPr>
          <p:nvPr>
            <p:ph sz="quarter" idx="13"/>
          </p:nvPr>
        </p:nvSpPr>
        <p:spPr>
          <a:xfrm>
            <a:off x="6433200" y="1579563"/>
            <a:ext cx="5400000" cy="4680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/>
          </p:nvPr>
        </p:nvSpPr>
        <p:spPr>
          <a:xfrm>
            <a:off x="360000" y="1579563"/>
            <a:ext cx="5400000" cy="4680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905569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DEDF3A6D-5968-FFE1-7CF7-D6B05FFBE6B5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 smtClean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 smtClean="0">
                <a:solidFill>
                  <a:srgbClr val="233C78">
                    <a:alpha val="40000"/>
                  </a:srgbClr>
                </a:solidFill>
                <a:latin typeface="Calibri"/>
              </a:rPr>
              <a:t>3</a:t>
            </a:r>
            <a:endParaRPr lang="ru-RU" sz="1000" dirty="0">
              <a:solidFill>
                <a:srgbClr val="233C78">
                  <a:alpha val="40000"/>
                </a:srgbClr>
              </a:solidFill>
              <a:latin typeface="Calibri"/>
            </a:endParaRPr>
          </a:p>
        </p:txBody>
      </p:sp>
      <p:sp>
        <p:nvSpPr>
          <p:cNvPr id="4" name="Текст 1">
            <a:extLst>
              <a:ext uri="{FF2B5EF4-FFF2-40B4-BE49-F238E27FC236}">
                <a16:creationId xmlns:a16="http://schemas.microsoft.com/office/drawing/2014/main" xmlns="" id="{90989494-9CB2-26A3-6664-6B2BD7603293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7E7E2665-0458-694C-B3A0-8F8BA25A8619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E821399B-39BD-C4DC-B289-A7EC11384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10352" y="6093588"/>
            <a:ext cx="4432176" cy="506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791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11A277CD-E6E9-48AD-F017-3E18A8695E48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 smtClean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 smtClean="0">
                <a:solidFill>
                  <a:srgbClr val="233C78">
                    <a:alpha val="40000"/>
                  </a:srgbClr>
                </a:solidFill>
                <a:latin typeface="Calibri"/>
              </a:rPr>
              <a:t>3</a:t>
            </a:r>
            <a:endParaRPr lang="ru-RU" sz="1000" dirty="0">
              <a:solidFill>
                <a:srgbClr val="233C78">
                  <a:alpha val="40000"/>
                </a:srgbClr>
              </a:solidFill>
              <a:latin typeface="Calibri"/>
            </a:endParaRPr>
          </a:p>
        </p:txBody>
      </p:sp>
      <p:sp>
        <p:nvSpPr>
          <p:cNvPr id="4" name="Текст 1">
            <a:extLst>
              <a:ext uri="{FF2B5EF4-FFF2-40B4-BE49-F238E27FC236}">
                <a16:creationId xmlns:a16="http://schemas.microsoft.com/office/drawing/2014/main" xmlns="" id="{7BD6D3C8-E52B-9B2B-E6F1-D260141EACD0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C8B0588C-5D01-654B-9A15-2A6BDD1112E5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59429828-2323-0D85-68BE-5EADC9D5D6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50399" r="79681" b="724"/>
          <a:stretch/>
        </p:blipFill>
        <p:spPr>
          <a:xfrm>
            <a:off x="0" y="3429000"/>
            <a:ext cx="2423886" cy="3429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92245" y="6093588"/>
            <a:ext cx="4432176" cy="506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0384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250B9D8F-1C2C-7969-1E8D-E2900A1A2404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 smtClean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 smtClean="0">
                <a:solidFill>
                  <a:srgbClr val="233C78">
                    <a:alpha val="40000"/>
                  </a:srgbClr>
                </a:solidFill>
                <a:latin typeface="Calibri"/>
              </a:rPr>
              <a:t>3</a:t>
            </a:r>
            <a:endParaRPr lang="ru-RU" sz="1000" dirty="0">
              <a:solidFill>
                <a:srgbClr val="233C78">
                  <a:alpha val="40000"/>
                </a:srgbClr>
              </a:solidFill>
              <a:latin typeface="Calibri"/>
            </a:endParaRPr>
          </a:p>
        </p:txBody>
      </p:sp>
      <p:sp>
        <p:nvSpPr>
          <p:cNvPr id="4" name="Текст 1">
            <a:extLst>
              <a:ext uri="{FF2B5EF4-FFF2-40B4-BE49-F238E27FC236}">
                <a16:creationId xmlns:a16="http://schemas.microsoft.com/office/drawing/2014/main" xmlns="" id="{AA9ED4E5-BF69-E730-F789-86BE14B76B66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54CCFB8C-31FB-7740-8689-E3BD672453E9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94975FE2-213F-E442-88F6-779083CEC1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564" t="1522" r="489" b="41998"/>
          <a:stretch/>
        </p:blipFill>
        <p:spPr>
          <a:xfrm>
            <a:off x="8374742" y="0"/>
            <a:ext cx="3817257" cy="39624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92245" y="6192706"/>
            <a:ext cx="4432176" cy="506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533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bg>
      <p:bgPr>
        <a:solidFill>
          <a:srgbClr val="2845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241AB272-E44E-D283-5409-800724681D63}"/>
              </a:ext>
            </a:extLst>
          </p:cNvPr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 smtClean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2</a:t>
            </a:r>
            <a:r>
              <a:rPr lang="ru-RU" sz="1000" dirty="0" smtClean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3</a:t>
            </a:r>
            <a:endParaRPr lang="ru-RU" sz="1000" dirty="0">
              <a:solidFill>
                <a:schemeClr val="bg1">
                  <a:lumMod val="85000"/>
                  <a:alpha val="40000"/>
                </a:schemeClr>
              </a:solidFill>
              <a:latin typeface="Calibri"/>
            </a:endParaRPr>
          </a:p>
        </p:txBody>
      </p:sp>
      <p:sp>
        <p:nvSpPr>
          <p:cNvPr id="6" name="Текст 1">
            <a:extLst>
              <a:ext uri="{FF2B5EF4-FFF2-40B4-BE49-F238E27FC236}">
                <a16:creationId xmlns:a16="http://schemas.microsoft.com/office/drawing/2014/main" xmlns="" id="{CADCFE0E-ADAB-08A4-0DE1-151EEF9FA4CC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4D553401-FACE-5145-91D4-367C9A7B6772}" type="slidenum">
              <a:rPr lang="ru-RU" sz="1400" b="1" smtClean="0">
                <a:solidFill>
                  <a:schemeClr val="bg1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" name="Рисунок 9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xmlns="" id="{483C3F96-44B6-9378-355F-F96EBB399C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" t="1520" r="618" b="762"/>
          <a:stretch/>
        </p:blipFill>
        <p:spPr>
          <a:xfrm>
            <a:off x="-586" y="0"/>
            <a:ext cx="12192000" cy="68580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31918" y="6025482"/>
            <a:ext cx="4426080" cy="506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4609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bg>
      <p:bgPr>
        <a:solidFill>
          <a:srgbClr val="2845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E3A48931-DE1B-7B9C-7557-0D74F3271C78}"/>
              </a:ext>
            </a:extLst>
          </p:cNvPr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 smtClean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2</a:t>
            </a:r>
            <a:r>
              <a:rPr lang="ru-RU" sz="1000" dirty="0" smtClean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3</a:t>
            </a:r>
            <a:endParaRPr lang="ru-RU" sz="1000" dirty="0">
              <a:solidFill>
                <a:schemeClr val="bg1">
                  <a:lumMod val="85000"/>
                  <a:alpha val="40000"/>
                </a:schemeClr>
              </a:solidFill>
              <a:latin typeface="Calibri"/>
            </a:endParaRPr>
          </a:p>
        </p:txBody>
      </p:sp>
      <p:sp>
        <p:nvSpPr>
          <p:cNvPr id="5" name="Текст 1">
            <a:extLst>
              <a:ext uri="{FF2B5EF4-FFF2-40B4-BE49-F238E27FC236}">
                <a16:creationId xmlns:a16="http://schemas.microsoft.com/office/drawing/2014/main" xmlns="" id="{B1C82FB5-334E-B35D-0144-3A501DBFC69C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0E93D095-A689-F240-BF42-231550FCE3F9}" type="slidenum">
              <a:rPr lang="ru-RU" sz="1400" b="1" smtClean="0">
                <a:solidFill>
                  <a:schemeClr val="bg1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" name="Рисунок 5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xmlns="" id="{65BE0369-A2BE-E57B-F0F4-6659ECDFF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4" t="1520" r="78514" b="762"/>
          <a:stretch/>
        </p:blipFill>
        <p:spPr>
          <a:xfrm>
            <a:off x="0" y="0"/>
            <a:ext cx="2580290" cy="68580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40560" y="6148593"/>
            <a:ext cx="4426080" cy="506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989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слайд">
    <p:bg>
      <p:bgPr>
        <a:solidFill>
          <a:srgbClr val="2845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xmlns="" id="{8DF91234-A22E-7EA1-DC80-8DFCB7049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64" t="-868" r="618" b="41586"/>
          <a:stretch/>
        </p:blipFill>
        <p:spPr>
          <a:xfrm>
            <a:off x="8290560" y="563880"/>
            <a:ext cx="3901440" cy="4160520"/>
          </a:xfrm>
          <a:prstGeom prst="rect">
            <a:avLst/>
          </a:prstGeom>
        </p:spPr>
      </p:pic>
      <p:pic>
        <p:nvPicPr>
          <p:cNvPr id="6" name="Рисунок 5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xmlns="" id="{0A9C1204-1853-2617-E9D4-65A046D117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64" t="-868" r="618" b="41586"/>
          <a:stretch/>
        </p:blipFill>
        <p:spPr>
          <a:xfrm rot="10800000">
            <a:off x="1" y="563880"/>
            <a:ext cx="3901440" cy="4160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7939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5" indent="0" algn="ctr">
              <a:buNone/>
              <a:defRPr sz="2000"/>
            </a:lvl2pPr>
            <a:lvl3pPr marL="914411" indent="0" algn="ctr">
              <a:buNone/>
              <a:defRPr sz="1800"/>
            </a:lvl3pPr>
            <a:lvl4pPr marL="1371616" indent="0" algn="ctr">
              <a:buNone/>
              <a:defRPr sz="1600"/>
            </a:lvl4pPr>
            <a:lvl5pPr marL="1828821" indent="0" algn="ctr">
              <a:buNone/>
              <a:defRPr sz="1600"/>
            </a:lvl5pPr>
            <a:lvl6pPr marL="2286027" indent="0" algn="ctr">
              <a:buNone/>
              <a:defRPr sz="1600"/>
            </a:lvl6pPr>
            <a:lvl7pPr marL="2743232" indent="0" algn="ctr">
              <a:buNone/>
              <a:defRPr sz="1600"/>
            </a:lvl7pPr>
            <a:lvl8pPr marL="3200438" indent="0" algn="ctr">
              <a:buNone/>
              <a:defRPr sz="1600"/>
            </a:lvl8pPr>
            <a:lvl9pPr marL="3657643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70286-9A37-49D5-84CC-170BFF34E8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4717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2" y="274638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2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6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12205429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78039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8" name="Слайд think-cell" r:id="rId16" imgW="383" imgH="384" progId="TCLayout.ActiveDocument.1">
                  <p:embed/>
                </p:oleObj>
              </mc:Choice>
              <mc:Fallback>
                <p:oleObj name="Слайд think-cell" r:id="rId1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.xml"/><Relationship Id="rId7" Type="http://schemas.openxmlformats.org/officeDocument/2006/relationships/image" Target="../media/image7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hw.lecta.ru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uchitel.club/fgos" TargetMode="External"/><Relationship Id="rId2" Type="http://schemas.openxmlformats.org/officeDocument/2006/relationships/image" Target="../media/image37.gi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2.png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shop.prosv.ru/formirovanie-funkcionalnoj-gramotnosti-sbornik-zadach-po-russkomu-yazyku-dlya-8-11-klassov2781" TargetMode="External"/><Relationship Id="rId3" Type="http://schemas.openxmlformats.org/officeDocument/2006/relationships/tags" Target="../tags/tag6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11" Type="http://schemas.openxmlformats.org/officeDocument/2006/relationships/image" Target="../media/image16.png"/><Relationship Id="rId5" Type="http://schemas.openxmlformats.org/officeDocument/2006/relationships/image" Target="../media/image11.png"/><Relationship Id="rId10" Type="http://schemas.openxmlformats.org/officeDocument/2006/relationships/hyperlink" Target="https://clck.ru/34R4qY" TargetMode="External"/><Relationship Id="rId4" Type="http://schemas.openxmlformats.org/officeDocument/2006/relationships/image" Target="../media/image10.jpeg"/><Relationship Id="rId9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6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hyperlink" Target="https://clck.ru/34R4qY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0.png"/><Relationship Id="rId11" Type="http://schemas.openxmlformats.org/officeDocument/2006/relationships/image" Target="../media/image15.jpeg"/><Relationship Id="rId5" Type="http://schemas.openxmlformats.org/officeDocument/2006/relationships/image" Target="../media/image19.png"/><Relationship Id="rId10" Type="http://schemas.openxmlformats.org/officeDocument/2006/relationships/image" Target="../media/image13.png"/><Relationship Id="rId4" Type="http://schemas.openxmlformats.org/officeDocument/2006/relationships/image" Target="../media/image18.png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6.png"/><Relationship Id="rId4" Type="http://schemas.openxmlformats.org/officeDocument/2006/relationships/hyperlink" Target="https://clck.ru/34R4qY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hyperlink" Target="https://clck.ru/34R4qY" TargetMode="External"/><Relationship Id="rId4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hyperlink" Target="https://clck.ru/34R4qY" TargetMode="External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Объект 6" hidden="1">
            <a:extLst>
              <a:ext uri="{FF2B5EF4-FFF2-40B4-BE49-F238E27FC236}">
                <a16:creationId xmlns:a16="http://schemas.microsoft.com/office/drawing/2014/main" xmlns="" id="{492B649E-93DA-C1A7-B9EA-D5AD279AD0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5881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" name="Слайд think-cell" r:id="rId6" imgW="38100" imgH="38100" progId="TCLayout.ActiveDocument.1">
                  <p:embed/>
                </p:oleObj>
              </mc:Choice>
              <mc:Fallback>
                <p:oleObj name="Слайд think-cell" r:id="rId6" imgW="38100" imgH="38100" progId="TCLayout.ActiveDocument.1">
                  <p:embed/>
                  <p:pic>
                    <p:nvPicPr>
                      <p:cNvPr id="0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8903C33-3A63-D732-DA73-D134B059AE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3671D4B-50F6-9EC5-7206-DABDC4E71B3F}"/>
              </a:ext>
            </a:extLst>
          </p:cNvPr>
          <p:cNvSpPr txBox="1"/>
          <p:nvPr/>
        </p:nvSpPr>
        <p:spPr>
          <a:xfrm>
            <a:off x="515938" y="5657778"/>
            <a:ext cx="4907387" cy="76944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Все права защищены. Никакая часть презентации не может быть воспроизведена в какой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бы то ни было форме и какими бы то ни было средствами, включая размещение в </a:t>
            </a:r>
            <a:r>
              <a:rPr lang="ru-RU" sz="1000" dirty="0" smtClean="0">
                <a:solidFill>
                  <a:schemeClr val="bg1">
                    <a:alpha val="40000"/>
                  </a:schemeClr>
                </a:solidFill>
                <a:latin typeface="Calibri"/>
              </a:rPr>
              <a:t>Интернете  и 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в корпоративных сетях, а также запись в память ЭВМ,  для частного или публичного использования, </a:t>
            </a:r>
            <a:r>
              <a:rPr lang="ru-RU" sz="1000" dirty="0" smtClean="0">
                <a:solidFill>
                  <a:schemeClr val="bg1">
                    <a:alpha val="40000"/>
                  </a:schemeClr>
                </a:solidFill>
                <a:latin typeface="Calibri"/>
              </a:rPr>
              <a:t> без 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письменного разрешения владельца авторских прав. © АО «Издательство «Просвещение», 20</a:t>
            </a:r>
            <a:r>
              <a:rPr lang="en-US" sz="1000" dirty="0" smtClean="0">
                <a:solidFill>
                  <a:schemeClr val="bg1">
                    <a:alpha val="40000"/>
                  </a:schemeClr>
                </a:solidFill>
                <a:latin typeface="Calibri"/>
              </a:rPr>
              <a:t>2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3</a:t>
            </a:r>
            <a:r>
              <a:rPr lang="ru-RU" sz="1000" dirty="0" smtClean="0">
                <a:solidFill>
                  <a:schemeClr val="bg1">
                    <a:alpha val="40000"/>
                  </a:schemeClr>
                </a:solidFill>
                <a:latin typeface="Calibri"/>
              </a:rPr>
              <a:t> 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г.</a:t>
            </a:r>
          </a:p>
        </p:txBody>
      </p:sp>
      <p:sp>
        <p:nvSpPr>
          <p:cNvPr id="11269" name="Подзаголовок 2">
            <a:extLst>
              <a:ext uri="{FF2B5EF4-FFF2-40B4-BE49-F238E27FC236}">
                <a16:creationId xmlns:a16="http://schemas.microsoft.com/office/drawing/2014/main" xmlns="" id="{784D884F-5B39-2B90-55D4-14E56F4C88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866" y="2889886"/>
            <a:ext cx="8744327" cy="732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85000"/>
              </a:lnSpc>
              <a:buFont typeface="Arial" panose="020B0604020202020204" pitchFamily="34" charset="0"/>
              <a:buNone/>
            </a:pPr>
            <a:r>
              <a:rPr lang="ru-RU" sz="2800" b="1" dirty="0">
                <a:solidFill>
                  <a:schemeClr val="bg1"/>
                </a:solidFill>
              </a:rPr>
              <a:t>Повторяем, обобщаем и закрепляем</a:t>
            </a:r>
            <a:r>
              <a:rPr lang="ru-RU" sz="2800" b="1" dirty="0" smtClean="0">
                <a:solidFill>
                  <a:schemeClr val="bg1"/>
                </a:solidFill>
              </a:rPr>
              <a:t>.</a:t>
            </a:r>
          </a:p>
          <a:p>
            <a:pPr eaLnBrk="1" hangingPunct="1">
              <a:lnSpc>
                <a:spcPct val="85000"/>
              </a:lnSpc>
              <a:buFont typeface="Arial" panose="020B0604020202020204" pitchFamily="34" charset="0"/>
              <a:buNone/>
            </a:pPr>
            <a:r>
              <a:rPr lang="ru-RU" sz="2800" b="1" dirty="0" smtClean="0">
                <a:solidFill>
                  <a:schemeClr val="bg1"/>
                </a:solidFill>
              </a:rPr>
              <a:t> </a:t>
            </a:r>
            <a:r>
              <a:rPr lang="ru-RU" sz="2800" b="1" dirty="0">
                <a:solidFill>
                  <a:schemeClr val="bg1"/>
                </a:solidFill>
              </a:rPr>
              <a:t>Цифровые инструменты на уроке в начальной школе </a:t>
            </a:r>
            <a:endParaRPr lang="ru-RU" altLang="ru-RU" sz="2800" b="1" dirty="0">
              <a:solidFill>
                <a:schemeClr val="bg1"/>
              </a:solidFill>
              <a:cs typeface="Open Sans Condensed" pitchFamily="2" charset="0"/>
            </a:endParaRPr>
          </a:p>
        </p:txBody>
      </p:sp>
      <p:pic>
        <p:nvPicPr>
          <p:cNvPr id="11270" name="Рисунок 2">
            <a:extLst>
              <a:ext uri="{FF2B5EF4-FFF2-40B4-BE49-F238E27FC236}">
                <a16:creationId xmlns:a16="http://schemas.microsoft.com/office/drawing/2014/main" xmlns="" id="{25DA1C98-81B6-7038-E7AA-483061A3ED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72" b="18723"/>
          <a:stretch>
            <a:fillRect/>
          </a:stretch>
        </p:blipFill>
        <p:spPr bwMode="auto">
          <a:xfrm>
            <a:off x="407988" y="460375"/>
            <a:ext cx="28194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024" y="296863"/>
            <a:ext cx="9861284" cy="3882044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1200" y="3783098"/>
            <a:ext cx="2166852" cy="2166852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813536" y="5189512"/>
            <a:ext cx="20889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hlinkClick r:id="rId4"/>
              </a:rPr>
              <a:t>https://hw.lecta.ru</a:t>
            </a:r>
            <a:r>
              <a:rPr lang="ru-RU" dirty="0" smtClean="0">
                <a:hlinkClick r:id="rId4"/>
              </a:rPr>
              <a:t>/</a:t>
            </a:r>
            <a:r>
              <a:rPr lang="ru-RU" dirty="0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54986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629" y="501440"/>
            <a:ext cx="5925149" cy="405069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3848" y="788959"/>
            <a:ext cx="5126182" cy="335585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7749" y="3495667"/>
            <a:ext cx="4804824" cy="316865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33014" y="788959"/>
            <a:ext cx="706582" cy="836414"/>
          </a:xfrm>
          <a:prstGeom prst="roundRect">
            <a:avLst/>
          </a:prstGeom>
          <a:solidFill>
            <a:srgbClr val="D0E1EE"/>
          </a:solidFill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rgbClr val="002060"/>
                </a:solidFill>
              </a:rPr>
              <a:t> </a:t>
            </a:r>
            <a:r>
              <a:rPr lang="ru-RU" sz="4400" b="1" dirty="0" smtClean="0">
                <a:solidFill>
                  <a:srgbClr val="002060"/>
                </a:solidFill>
              </a:rPr>
              <a:t>1</a:t>
            </a:r>
            <a:endParaRPr lang="ru-RU" sz="4400" b="1" dirty="0">
              <a:solidFill>
                <a:srgbClr val="00206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282846" y="2515494"/>
            <a:ext cx="706582" cy="836414"/>
          </a:xfrm>
          <a:prstGeom prst="roundRect">
            <a:avLst/>
          </a:prstGeom>
          <a:solidFill>
            <a:srgbClr val="D0E1EE"/>
          </a:solidFill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rgbClr val="002060"/>
                </a:solidFill>
              </a:rPr>
              <a:t> </a:t>
            </a:r>
            <a:r>
              <a:rPr lang="ru-RU" sz="4400" b="1" dirty="0" smtClean="0">
                <a:solidFill>
                  <a:srgbClr val="002060"/>
                </a:solidFill>
              </a:rPr>
              <a:t>2</a:t>
            </a:r>
            <a:endParaRPr lang="ru-RU" sz="4400" b="1" dirty="0">
              <a:solidFill>
                <a:srgbClr val="00206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334458" y="4837516"/>
            <a:ext cx="706582" cy="836414"/>
          </a:xfrm>
          <a:prstGeom prst="roundRect">
            <a:avLst/>
          </a:prstGeom>
          <a:solidFill>
            <a:srgbClr val="D0E1EE"/>
          </a:solidFill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rgbClr val="002060"/>
                </a:solidFill>
              </a:rPr>
              <a:t> </a:t>
            </a:r>
            <a:r>
              <a:rPr lang="ru-RU" sz="4400" b="1" dirty="0" smtClean="0">
                <a:solidFill>
                  <a:srgbClr val="002060"/>
                </a:solidFill>
              </a:rPr>
              <a:t>3</a:t>
            </a:r>
            <a:endParaRPr lang="ru-RU" sz="4400" b="1" dirty="0">
              <a:solidFill>
                <a:srgbClr val="00206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58376" y="1706444"/>
            <a:ext cx="2844827" cy="408623"/>
          </a:xfrm>
          <a:prstGeom prst="roundRect">
            <a:avLst/>
          </a:prstGeom>
          <a:solidFill>
            <a:srgbClr val="D0E1EE"/>
          </a:solidFill>
        </p:spPr>
        <p:txBody>
          <a:bodyPr wrap="square" rtlCol="0">
            <a:spAutoFit/>
          </a:bodyPr>
          <a:lstStyle/>
          <a:p>
            <a:r>
              <a:rPr lang="ru-RU" dirty="0" smtClean="0"/>
              <a:t>Выбираем предмет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5336888" y="1963112"/>
            <a:ext cx="2844827" cy="408623"/>
          </a:xfrm>
          <a:prstGeom prst="roundRect">
            <a:avLst/>
          </a:prstGeom>
          <a:solidFill>
            <a:srgbClr val="D0E1EE"/>
          </a:solidFill>
        </p:spPr>
        <p:txBody>
          <a:bodyPr wrap="square" rtlCol="0">
            <a:spAutoFit/>
          </a:bodyPr>
          <a:lstStyle/>
          <a:p>
            <a:r>
              <a:rPr lang="ru-RU" dirty="0" smtClean="0"/>
              <a:t>Выбираем тему</a:t>
            </a:r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318772" y="5757137"/>
            <a:ext cx="2844827" cy="408623"/>
          </a:xfrm>
          <a:prstGeom prst="roundRect">
            <a:avLst/>
          </a:prstGeom>
          <a:solidFill>
            <a:srgbClr val="D0E1EE"/>
          </a:solidFill>
        </p:spPr>
        <p:txBody>
          <a:bodyPr wrap="square" rtlCol="0">
            <a:spAutoFit/>
          </a:bodyPr>
          <a:lstStyle/>
          <a:p>
            <a:r>
              <a:rPr lang="ru-RU" dirty="0" smtClean="0"/>
              <a:t>Собираем задан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53551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1994" y="2844685"/>
            <a:ext cx="4243172" cy="198197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442" y="1445125"/>
            <a:ext cx="4581148" cy="396775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5015445" y="4707676"/>
            <a:ext cx="2456619" cy="199100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05411" y="2873512"/>
            <a:ext cx="2695951" cy="192431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5095612" y="1150001"/>
            <a:ext cx="2505749" cy="1714739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512704" y="305896"/>
            <a:ext cx="9720263" cy="40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>
              <a:lnSpc>
                <a:spcPct val="85000"/>
              </a:lnSpc>
              <a:tabLst>
                <a:tab pos="7416800" algn="l"/>
              </a:tabLst>
            </a:pPr>
            <a:r>
              <a:rPr lang="ru-RU" sz="2400" b="1" dirty="0">
                <a:solidFill>
                  <a:srgbClr val="28458D"/>
                </a:solidFill>
                <a:latin typeface="Calibri" panose="020F0502020204030204" pitchFamily="34" charset="0"/>
                <a:ea typeface="+mn-ea"/>
                <a:cs typeface="Open Sans Condensed" pitchFamily="2" charset="0"/>
              </a:rPr>
              <a:t>Просмотр своих результатов сразу после выполнения задания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9448800" y="6426200"/>
            <a:ext cx="2743200" cy="365125"/>
          </a:xfrm>
          <a:prstGeom prst="rect">
            <a:avLst/>
          </a:prstGeom>
        </p:spPr>
        <p:txBody>
          <a:bodyPr/>
          <a:lstStyle/>
          <a:p>
            <a:fld id="{2F22C03C-6D17-4783-A549-9F317AE3CC41}" type="slidenum">
              <a:rPr lang="ru-RU" smtClean="0"/>
              <a:t>12</a:t>
            </a:fld>
            <a:endParaRPr lang="ru-RU" dirty="0"/>
          </a:p>
        </p:txBody>
      </p:sp>
      <p:cxnSp>
        <p:nvCxnSpPr>
          <p:cNvPr id="19" name="Прямая со стрелкой 18"/>
          <p:cNvCxnSpPr/>
          <p:nvPr/>
        </p:nvCxnSpPr>
        <p:spPr>
          <a:xfrm flipH="1" flipV="1">
            <a:off x="2556070" y="2290568"/>
            <a:ext cx="2828939" cy="89492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 flipH="1">
            <a:off x="3858043" y="3919538"/>
            <a:ext cx="1242701" cy="440453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 flipV="1">
            <a:off x="7436680" y="3919538"/>
            <a:ext cx="2796287" cy="1400571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5068682" y="3193916"/>
            <a:ext cx="21826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ru-RU" dirty="0"/>
              <a:t>Красным индикатором отмечены </a:t>
            </a:r>
            <a:r>
              <a:rPr lang="ru-RU" dirty="0" smtClean="0"/>
              <a:t>ошибки</a:t>
            </a:r>
            <a:endParaRPr lang="ru-RU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5326471" y="1126158"/>
            <a:ext cx="204402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ru-RU" dirty="0"/>
              <a:t>Система автоматически проверяет выполненные задания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5144545" y="5026091"/>
            <a:ext cx="210681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ru-RU" dirty="0"/>
              <a:t>При наведении мышкой можно посмотреть </a:t>
            </a:r>
            <a:r>
              <a:rPr lang="ru-RU" dirty="0" smtClean="0"/>
              <a:t>попыт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05271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17" name="Picture 2" descr="http://qrcoder.ru/code/?https%3A%2F%2Fuchitel.club%2Ffgos&amp;4&amp;0">
            <a:extLst>
              <a:ext uri="{FF2B5EF4-FFF2-40B4-BE49-F238E27FC236}">
                <a16:creationId xmlns:a16="http://schemas.microsoft.com/office/drawing/2014/main" xmlns="" id="{F4CFE55D-5DD3-C06A-C305-F27112AA7E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8270" y="3850512"/>
            <a:ext cx="2006600" cy="200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418" name="TextBox 23">
            <a:extLst>
              <a:ext uri="{FF2B5EF4-FFF2-40B4-BE49-F238E27FC236}">
                <a16:creationId xmlns:a16="http://schemas.microsoft.com/office/drawing/2014/main" xmlns="" id="{6244E386-2E98-4517-1C61-556FD2554E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46482" y="1447396"/>
            <a:ext cx="4732338" cy="2277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4488" indent="-34448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Aft>
                <a:spcPts val="1200"/>
              </a:spcAft>
              <a:buClr>
                <a:srgbClr val="28458D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altLang="ru-RU" sz="1600" dirty="0">
                <a:ea typeface="Yu Gothic UI Light" panose="020B0300000000000000" pitchFamily="34" charset="-128"/>
              </a:rPr>
              <a:t>Методические </a:t>
            </a:r>
            <a:r>
              <a:rPr lang="ru-RU" altLang="ru-RU" sz="1600" dirty="0" smtClean="0">
                <a:ea typeface="Yu Gothic UI Light" panose="020B0300000000000000" pitchFamily="34" charset="-128"/>
              </a:rPr>
              <a:t>письма по использованию учебников, соответствующих ФГОС 2009, 2010, в условиях перехода на ФГОС 2021 </a:t>
            </a:r>
            <a:endParaRPr lang="ru-RU" altLang="ru-RU" sz="1600" dirty="0">
              <a:ea typeface="Yu Gothic UI Light" panose="020B0300000000000000" pitchFamily="34" charset="-128"/>
            </a:endParaRPr>
          </a:p>
          <a:p>
            <a:pPr eaLnBrk="1" hangingPunct="1">
              <a:spcAft>
                <a:spcPts val="1200"/>
              </a:spcAft>
              <a:buClr>
                <a:srgbClr val="28458D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altLang="ru-RU" sz="1600" dirty="0" err="1">
                <a:ea typeface="Yu Gothic UI Light" panose="020B0300000000000000" pitchFamily="34" charset="-128"/>
              </a:rPr>
              <a:t>Видеолекции</a:t>
            </a:r>
            <a:endParaRPr lang="ru-RU" altLang="ru-RU" sz="1600" dirty="0">
              <a:ea typeface="Yu Gothic UI Light" panose="020B0300000000000000" pitchFamily="34" charset="-128"/>
            </a:endParaRPr>
          </a:p>
          <a:p>
            <a:pPr eaLnBrk="1" hangingPunct="1">
              <a:spcAft>
                <a:spcPts val="1200"/>
              </a:spcAft>
              <a:buClr>
                <a:srgbClr val="28458D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altLang="ru-RU" sz="1600" dirty="0">
                <a:ea typeface="Yu Gothic UI Light" panose="020B0300000000000000" pitchFamily="34" charset="-128"/>
              </a:rPr>
              <a:t>Рекомендации дополнительных учебных пособий и цифровых ресурсов</a:t>
            </a:r>
          </a:p>
          <a:p>
            <a:pPr eaLnBrk="1" hangingPunct="1">
              <a:spcAft>
                <a:spcPts val="1200"/>
              </a:spcAft>
              <a:buClr>
                <a:srgbClr val="28458D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altLang="ru-RU" sz="1600" dirty="0">
                <a:ea typeface="Yu Gothic UI Light" panose="020B0300000000000000" pitchFamily="34" charset="-128"/>
              </a:rPr>
              <a:t>Курсы повышения квалификации 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EA560006-4BA1-AA65-DAA7-3DD61BBCA456}"/>
              </a:ext>
            </a:extLst>
          </p:cNvPr>
          <p:cNvSpPr/>
          <p:nvPr/>
        </p:nvSpPr>
        <p:spPr>
          <a:xfrm>
            <a:off x="9583320" y="5352287"/>
            <a:ext cx="2001837" cy="3079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28458D"/>
                </a:solidFill>
                <a:latin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uchitel.club/fgos</a:t>
            </a:r>
            <a:r>
              <a:rPr lang="ru-RU" sz="1400" dirty="0">
                <a:solidFill>
                  <a:srgbClr val="28458D"/>
                </a:solidFill>
                <a:latin typeface="+mn-lt"/>
              </a:rPr>
              <a:t> </a:t>
            </a:r>
          </a:p>
        </p:txBody>
      </p:sp>
      <p:sp>
        <p:nvSpPr>
          <p:cNvPr id="60420" name="Прямоугольник 22">
            <a:extLst>
              <a:ext uri="{FF2B5EF4-FFF2-40B4-BE49-F238E27FC236}">
                <a16:creationId xmlns:a16="http://schemas.microsoft.com/office/drawing/2014/main" xmlns="" id="{3346E82D-E9AB-82C9-5626-B9382C2B71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700" y="414338"/>
            <a:ext cx="10701338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Методическая поддержка перехода на обновлённые ФГОС</a:t>
            </a:r>
          </a:p>
        </p:txBody>
      </p:sp>
      <p:grpSp>
        <p:nvGrpSpPr>
          <p:cNvPr id="60421" name="Группа 29">
            <a:extLst>
              <a:ext uri="{FF2B5EF4-FFF2-40B4-BE49-F238E27FC236}">
                <a16:creationId xmlns:a16="http://schemas.microsoft.com/office/drawing/2014/main" xmlns="" id="{33BA157D-E4D1-2BC2-29B4-FCAD8D7040D0}"/>
              </a:ext>
            </a:extLst>
          </p:cNvPr>
          <p:cNvGrpSpPr>
            <a:grpSpLocks/>
          </p:cNvGrpSpPr>
          <p:nvPr/>
        </p:nvGrpSpPr>
        <p:grpSpPr bwMode="auto">
          <a:xfrm>
            <a:off x="393700" y="1153319"/>
            <a:ext cx="6335713" cy="4959350"/>
            <a:chOff x="987531" y="1498878"/>
            <a:chExt cx="5584455" cy="4369818"/>
          </a:xfrm>
        </p:grpSpPr>
        <p:pic>
          <p:nvPicPr>
            <p:cNvPr id="60424" name="Рисунок 27">
              <a:extLst>
                <a:ext uri="{FF2B5EF4-FFF2-40B4-BE49-F238E27FC236}">
                  <a16:creationId xmlns:a16="http://schemas.microsoft.com/office/drawing/2014/main" xmlns="" id="{3B297C61-4E45-357F-2977-8394C52ADF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875" b="10875"/>
            <a:stretch>
              <a:fillRect/>
            </a:stretch>
          </p:blipFill>
          <p:spPr bwMode="auto">
            <a:xfrm>
              <a:off x="987531" y="1498878"/>
              <a:ext cx="5584455" cy="43698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0425" name="Рисунок 2">
              <a:extLst>
                <a:ext uri="{FF2B5EF4-FFF2-40B4-BE49-F238E27FC236}">
                  <a16:creationId xmlns:a16="http://schemas.microsoft.com/office/drawing/2014/main" xmlns="" id="{FA9E785F-D3EF-395C-D555-6C38E2D64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0527" y="2062591"/>
              <a:ext cx="4031437" cy="22715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xmlns="" id="{F1BAE9F4-E22E-C655-6D11-2299361D1F39}"/>
                </a:ext>
              </a:extLst>
            </p:cNvPr>
            <p:cNvSpPr/>
            <p:nvPr/>
          </p:nvSpPr>
          <p:spPr>
            <a:xfrm>
              <a:off x="1771118" y="4334224"/>
              <a:ext cx="4031274" cy="148272"/>
            </a:xfrm>
            <a:prstGeom prst="rect">
              <a:avLst/>
            </a:prstGeom>
            <a:solidFill>
              <a:srgbClr val="ECF5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xmlns="" id="{3789887E-D6F9-0CD5-C1EF-D00A97EF9424}"/>
              </a:ext>
            </a:extLst>
          </p:cNvPr>
          <p:cNvSpPr/>
          <p:nvPr/>
        </p:nvSpPr>
        <p:spPr>
          <a:xfrm>
            <a:off x="7122695" y="3850512"/>
            <a:ext cx="4556125" cy="2017713"/>
          </a:xfrm>
          <a:prstGeom prst="roundRect">
            <a:avLst>
              <a:gd name="adj" fmla="val 12521"/>
            </a:avLst>
          </a:prstGeom>
          <a:noFill/>
          <a:ln w="19050">
            <a:solidFill>
              <a:srgbClr val="284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x-none"/>
          </a:p>
        </p:txBody>
      </p:sp>
      <p:sp>
        <p:nvSpPr>
          <p:cNvPr id="60423" name="Прямоугольник 12">
            <a:extLst>
              <a:ext uri="{FF2B5EF4-FFF2-40B4-BE49-F238E27FC236}">
                <a16:creationId xmlns:a16="http://schemas.microsoft.com/office/drawing/2014/main" xmlns="" id="{7989A508-0E1A-0C91-450C-99E4288DFE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16645" y="5039371"/>
            <a:ext cx="2362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SzPct val="100000"/>
            </a:pPr>
            <a:r>
              <a:rPr lang="ru-RU" altLang="ru-RU" sz="1400" b="1" dirty="0">
                <a:solidFill>
                  <a:srgbClr val="28458D"/>
                </a:solidFill>
                <a:cs typeface="Open Sans Condensed" pitchFamily="2" charset="0"/>
              </a:rPr>
              <a:t>Больше информации </a:t>
            </a:r>
          </a:p>
        </p:txBody>
      </p:sp>
    </p:spTree>
    <p:extLst>
      <p:ext uri="{BB962C8B-B14F-4D97-AF65-F5344CB8AC3E}">
        <p14:creationId xmlns:p14="http://schemas.microsoft.com/office/powerpoint/2010/main" val="2112725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9118" y="-305923"/>
            <a:ext cx="212127" cy="229141"/>
          </a:xfrm>
          <a:prstGeom prst="rect">
            <a:avLst/>
          </a:prstGeom>
          <a:noFill/>
        </p:spPr>
      </p:pic>
      <p:sp>
        <p:nvSpPr>
          <p:cNvPr id="7" name="Прямоугольник 6"/>
          <p:cNvSpPr/>
          <p:nvPr/>
        </p:nvSpPr>
        <p:spPr>
          <a:xfrm>
            <a:off x="5824711" y="3207491"/>
            <a:ext cx="42672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800" dirty="0">
                <a:solidFill>
                  <a:srgbClr val="5756D3"/>
                </a:solidFill>
                <a:latin typeface="Arial Black" panose="020B0A04020102020204" pitchFamily="34" charset="0"/>
                <a:ea typeface="Roboto Black" panose="02000000000000000000" pitchFamily="2" charset="0"/>
                <a:cs typeface="Roboto Black" panose="02000000000000000000" pitchFamily="2" charset="0"/>
              </a:rPr>
              <a:t>WEBPROSV</a:t>
            </a:r>
            <a:endParaRPr lang="ru-RU" sz="4800" dirty="0">
              <a:solidFill>
                <a:srgbClr val="2E31A2"/>
              </a:solidFill>
              <a:latin typeface="Arial Black" panose="020B0A04020102020204" pitchFamily="34" charset="0"/>
              <a:ea typeface="Roboto Black" panose="02000000000000000000" pitchFamily="2" charset="0"/>
              <a:cs typeface="Roboto Black" panose="02000000000000000000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1911" y="3530587"/>
            <a:ext cx="1363843" cy="135072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ot"/>
          </a:ln>
        </p:spPr>
      </p:pic>
      <p:sp>
        <p:nvSpPr>
          <p:cNvPr id="9" name="Прямоугольник 8"/>
          <p:cNvSpPr/>
          <p:nvPr/>
        </p:nvSpPr>
        <p:spPr>
          <a:xfrm>
            <a:off x="6980802" y="4142652"/>
            <a:ext cx="2817603" cy="73866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pPr algn="r"/>
            <a:r>
              <a:rPr lang="ru-RU" sz="1400" dirty="0">
                <a:solidFill>
                  <a:srgbClr val="5756D3"/>
                </a:solidFill>
                <a:latin typeface="Arial Black" panose="020B0A040201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Каталог </a:t>
            </a:r>
          </a:p>
          <a:p>
            <a:pPr algn="r"/>
            <a:r>
              <a:rPr lang="ru-RU" sz="1400" dirty="0">
                <a:solidFill>
                  <a:srgbClr val="5756D3"/>
                </a:solidFill>
                <a:latin typeface="Arial Black" panose="020B0A040201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цифровых сервисов </a:t>
            </a:r>
          </a:p>
          <a:p>
            <a:pPr algn="r"/>
            <a:r>
              <a:rPr lang="en-US" sz="1400" dirty="0" err="1">
                <a:solidFill>
                  <a:srgbClr val="5756D3"/>
                </a:solidFill>
                <a:latin typeface="Arial Black" panose="020B0A040201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Lecta</a:t>
            </a:r>
            <a:endParaRPr lang="ru-RU" sz="1050" dirty="0">
              <a:solidFill>
                <a:srgbClr val="2E31A2"/>
              </a:solidFill>
              <a:latin typeface="Arial" panose="020B0604020202020204" pitchFamily="34" charset="0"/>
              <a:ea typeface="Roboto Black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205491" y="971143"/>
            <a:ext cx="7543240" cy="135421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/>
            <a:r>
              <a:rPr lang="ru-RU" sz="4400" dirty="0" err="1" smtClean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Промокод</a:t>
            </a:r>
            <a:r>
              <a:rPr lang="ru-RU" sz="4400" dirty="0" smtClean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 на скидку </a:t>
            </a:r>
            <a:r>
              <a:rPr lang="ru-RU" sz="5400" dirty="0" smtClean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30%</a:t>
            </a:r>
            <a:r>
              <a:rPr lang="ru-RU" sz="1400" dirty="0" smtClean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 на весь чек </a:t>
            </a:r>
          </a:p>
          <a:p>
            <a:pPr algn="r"/>
            <a:r>
              <a:rPr lang="ru-RU" sz="1400" dirty="0" smtClean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на </a:t>
            </a:r>
            <a:r>
              <a:rPr lang="ru-RU" sz="1400" dirty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платформе </a:t>
            </a:r>
            <a:r>
              <a:rPr lang="en-US" sz="1400" dirty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Lecta.ru</a:t>
            </a:r>
            <a:r>
              <a:rPr lang="ru-RU" sz="1400" dirty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 </a:t>
            </a:r>
          </a:p>
          <a:p>
            <a:pPr algn="r"/>
            <a:r>
              <a:rPr lang="ru-RU" sz="1400" dirty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действителен до </a:t>
            </a:r>
            <a:r>
              <a:rPr lang="ru-RU" sz="1400" dirty="0" smtClean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31.05.2023 </a:t>
            </a:r>
            <a:r>
              <a:rPr lang="ru-RU" sz="1400" dirty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включительно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0" y="1844675"/>
            <a:ext cx="10932753" cy="4959350"/>
            <a:chOff x="-92956" y="1379773"/>
            <a:chExt cx="10932753" cy="4959350"/>
          </a:xfrm>
        </p:grpSpPr>
        <p:pic>
          <p:nvPicPr>
            <p:cNvPr id="13" name="Рисунок 27">
              <a:extLst>
                <a:ext uri="{FF2B5EF4-FFF2-40B4-BE49-F238E27FC236}">
                  <a16:creationId xmlns:a16="http://schemas.microsoft.com/office/drawing/2014/main" xmlns="" id="{3B297C61-4E45-357F-2977-8394C52ADF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875" b="10875"/>
            <a:stretch>
              <a:fillRect/>
            </a:stretch>
          </p:blipFill>
          <p:spPr bwMode="auto">
            <a:xfrm>
              <a:off x="-92956" y="1379773"/>
              <a:ext cx="6335713" cy="4959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1" name="Группа 10"/>
            <p:cNvGrpSpPr/>
            <p:nvPr/>
          </p:nvGrpSpPr>
          <p:grpSpPr>
            <a:xfrm>
              <a:off x="842935" y="2085040"/>
              <a:ext cx="9996862" cy="2331374"/>
              <a:chOff x="-9281640" y="376717"/>
              <a:chExt cx="19325753" cy="4152900"/>
            </a:xfrm>
          </p:grpSpPr>
          <p:pic>
            <p:nvPicPr>
              <p:cNvPr id="6" name="Рисунок 5"/>
              <p:cNvPicPr>
                <a:picLocks noChangeAspect="1"/>
              </p:cNvPicPr>
              <p:nvPr/>
            </p:nvPicPr>
            <p:blipFill rotWithShape="1">
              <a:blip r:embed="rId5"/>
              <a:srcRect l="1993" r="2843"/>
              <a:stretch/>
            </p:blipFill>
            <p:spPr>
              <a:xfrm>
                <a:off x="-9281640" y="376717"/>
                <a:ext cx="8629292" cy="4152900"/>
              </a:xfrm>
              <a:prstGeom prst="rect">
                <a:avLst/>
              </a:prstGeom>
            </p:spPr>
          </p:pic>
          <p:sp>
            <p:nvSpPr>
              <p:cNvPr id="10" name="Скругленный прямоугольник 9"/>
              <p:cNvSpPr/>
              <p:nvPr/>
            </p:nvSpPr>
            <p:spPr>
              <a:xfrm>
                <a:off x="9444038" y="1828800"/>
                <a:ext cx="600075" cy="228600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21" name="Рисунок 20"/>
            <p:cNvPicPr>
              <a:picLocks noChangeAspect="1"/>
            </p:cNvPicPr>
            <p:nvPr/>
          </p:nvPicPr>
          <p:blipFill rotWithShape="1">
            <a:blip r:embed="rId5"/>
            <a:srcRect l="1284" t="91229" r="3625" b="672"/>
            <a:stretch/>
          </p:blipFill>
          <p:spPr>
            <a:xfrm>
              <a:off x="842935" y="4416414"/>
              <a:ext cx="4460586" cy="1888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691690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513" name="Объект 6" hidden="1">
            <a:extLst>
              <a:ext uri="{FF2B5EF4-FFF2-40B4-BE49-F238E27FC236}">
                <a16:creationId xmlns:a16="http://schemas.microsoft.com/office/drawing/2014/main" xmlns="" id="{EF4D8A68-5C15-0061-87B4-E58824E5E6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0" name="Слайд think-cell" r:id="rId6" imgW="38100" imgH="38100" progId="TCLayout.ActiveDocument.1">
                  <p:embed/>
                </p:oleObj>
              </mc:Choice>
              <mc:Fallback>
                <p:oleObj name="Слайд think-cell" r:id="rId6" imgW="38100" imgH="38100" progId="TCLayout.ActiveDocument.1">
                  <p:embed/>
                  <p:pic>
                    <p:nvPicPr>
                      <p:cNvPr id="0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099426AE-BD7F-514D-0D9F-B09D95610DE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447E4529-AD9C-258A-4B4C-BD82DFF45168}"/>
              </a:ext>
            </a:extLst>
          </p:cNvPr>
          <p:cNvSpPr txBox="1"/>
          <p:nvPr/>
        </p:nvSpPr>
        <p:spPr>
          <a:xfrm>
            <a:off x="479425" y="6032605"/>
            <a:ext cx="11269663" cy="43069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33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</a:t>
            </a:r>
            <a:br>
              <a:rPr lang="ru-RU" sz="933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933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Интернете и в корпоративных сетях, а также запись в память ЭВМ,  для частного или публичного использования, без письменного разрешения владельца авторских прав. </a:t>
            </a:r>
            <a:br>
              <a:rPr lang="ru-RU" sz="933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933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«Просвещение», 20</a:t>
            </a:r>
            <a:r>
              <a:rPr lang="en-US" sz="933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lang="ru-RU" sz="933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г.</a:t>
            </a:r>
          </a:p>
        </p:txBody>
      </p:sp>
      <p:sp>
        <p:nvSpPr>
          <p:cNvPr id="64516" name="Подзаголовок 2">
            <a:extLst>
              <a:ext uri="{FF2B5EF4-FFF2-40B4-BE49-F238E27FC236}">
                <a16:creationId xmlns:a16="http://schemas.microsoft.com/office/drawing/2014/main" xmlns="" id="{7259B3B0-6639-E177-9EBC-80DC1C328B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425" y="4972050"/>
            <a:ext cx="5249863" cy="127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ru-RU" altLang="ru-RU" sz="1400" b="1">
                <a:solidFill>
                  <a:schemeClr val="bg1"/>
                </a:solidFill>
                <a:cs typeface="Open Sans ExtraBold" pitchFamily="2" charset="0"/>
              </a:rPr>
              <a:t>Группа компаний «Просвещение»</a:t>
            </a:r>
          </a:p>
          <a:p>
            <a:pPr eaLnBrk="1" hangingPunct="1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ru-RU" altLang="ru-RU" sz="1400">
                <a:solidFill>
                  <a:schemeClr val="bg1"/>
                </a:solidFill>
                <a:cs typeface="Open Sans Light" pitchFamily="2" charset="0"/>
              </a:rPr>
              <a:t>Адрес: 127473, г. Москва, ул. Краснопролетарская, д. 16, стр. 3, подъезд 8, бизнес-центр «Новослободский»</a:t>
            </a:r>
          </a:p>
          <a:p>
            <a:pPr eaLnBrk="1" hangingPunct="1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ru-RU" altLang="ru-RU" sz="1400">
                <a:solidFill>
                  <a:schemeClr val="bg1"/>
                </a:solidFill>
                <a:cs typeface="Open Sans Light" pitchFamily="2" charset="0"/>
              </a:rPr>
              <a:t/>
            </a:r>
            <a:br>
              <a:rPr lang="ru-RU" altLang="ru-RU" sz="1400">
                <a:solidFill>
                  <a:schemeClr val="bg1"/>
                </a:solidFill>
                <a:cs typeface="Open Sans Light" pitchFamily="2" charset="0"/>
              </a:rPr>
            </a:br>
            <a:endParaRPr lang="ru-RU" altLang="ru-RU" sz="1400">
              <a:solidFill>
                <a:schemeClr val="bg1"/>
              </a:solidFill>
              <a:cs typeface="Open Sans Light" pitchFamily="2" charset="0"/>
            </a:endParaRPr>
          </a:p>
        </p:txBody>
      </p:sp>
      <p:pic>
        <p:nvPicPr>
          <p:cNvPr id="96" name="Рисунок 24">
            <a:hlinkClick r:id="rId8"/>
            <a:extLst>
              <a:ext uri="{FF2B5EF4-FFF2-40B4-BE49-F238E27FC236}">
                <a16:creationId xmlns:a16="http://schemas.microsoft.com/office/drawing/2014/main" xmlns="" id="{401F94DD-BFB2-FC9B-444B-840099766D1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49412" y="1655024"/>
            <a:ext cx="1893175" cy="1893175"/>
          </a:xfrm>
          <a:prstGeom prst="roundRect">
            <a:avLst>
              <a:gd name="adj" fmla="val 8808"/>
            </a:avLst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2C8CA6CE-EC25-EB5A-104E-726FF153852F}"/>
              </a:ext>
            </a:extLst>
          </p:cNvPr>
          <p:cNvGrpSpPr/>
          <p:nvPr/>
        </p:nvGrpSpPr>
        <p:grpSpPr>
          <a:xfrm>
            <a:off x="5548757" y="3855425"/>
            <a:ext cx="1094486" cy="180109"/>
            <a:chOff x="1889162" y="5589170"/>
            <a:chExt cx="1094486" cy="180109"/>
          </a:xfrm>
          <a:solidFill>
            <a:schemeClr val="bg1"/>
          </a:solidFill>
        </p:grpSpPr>
        <p:sp>
          <p:nvSpPr>
            <p:cNvPr id="4" name="Овал 3">
              <a:extLst>
                <a:ext uri="{FF2B5EF4-FFF2-40B4-BE49-F238E27FC236}">
                  <a16:creationId xmlns:a16="http://schemas.microsoft.com/office/drawing/2014/main" xmlns="" id="{48251B8B-B15E-4A93-E350-CE986AF46F17}"/>
                </a:ext>
              </a:extLst>
            </p:cNvPr>
            <p:cNvSpPr/>
            <p:nvPr/>
          </p:nvSpPr>
          <p:spPr>
            <a:xfrm>
              <a:off x="1889162" y="5589170"/>
              <a:ext cx="180109" cy="180109"/>
            </a:xfrm>
            <a:prstGeom prst="ellipse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x-none"/>
            </a:p>
          </p:txBody>
        </p:sp>
        <p:sp>
          <p:nvSpPr>
            <p:cNvPr id="6" name="Овал 5">
              <a:extLst>
                <a:ext uri="{FF2B5EF4-FFF2-40B4-BE49-F238E27FC236}">
                  <a16:creationId xmlns:a16="http://schemas.microsoft.com/office/drawing/2014/main" xmlns="" id="{321B421F-6F0D-8642-526F-ACCFF35FFC1B}"/>
                </a:ext>
              </a:extLst>
            </p:cNvPr>
            <p:cNvSpPr/>
            <p:nvPr/>
          </p:nvSpPr>
          <p:spPr>
            <a:xfrm>
              <a:off x="2346351" y="5589170"/>
              <a:ext cx="180109" cy="180109"/>
            </a:xfrm>
            <a:prstGeom prst="ellipse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x-none"/>
            </a:p>
          </p:txBody>
        </p:sp>
        <p:sp>
          <p:nvSpPr>
            <p:cNvPr id="9" name="Овал 8">
              <a:extLst>
                <a:ext uri="{FF2B5EF4-FFF2-40B4-BE49-F238E27FC236}">
                  <a16:creationId xmlns:a16="http://schemas.microsoft.com/office/drawing/2014/main" xmlns="" id="{27C07E7F-52BB-3630-CE0E-4F2E2717015A}"/>
                </a:ext>
              </a:extLst>
            </p:cNvPr>
            <p:cNvSpPr/>
            <p:nvPr/>
          </p:nvSpPr>
          <p:spPr>
            <a:xfrm>
              <a:off x="2803539" y="5589170"/>
              <a:ext cx="180109" cy="180109"/>
            </a:xfrm>
            <a:prstGeom prst="ellipse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x-none"/>
            </a:p>
          </p:txBody>
        </p:sp>
      </p:grpSp>
      <p:sp>
        <p:nvSpPr>
          <p:cNvPr id="64519" name="TextBox 10">
            <a:extLst>
              <a:ext uri="{FF2B5EF4-FFF2-40B4-BE49-F238E27FC236}">
                <a16:creationId xmlns:a16="http://schemas.microsoft.com/office/drawing/2014/main" xmlns="" id="{EAF9620C-5098-0139-9E99-01A5F0A4D3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05513" y="4972050"/>
            <a:ext cx="60991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400" dirty="0">
                <a:solidFill>
                  <a:schemeClr val="bg1"/>
                </a:solidFill>
                <a:cs typeface="Open Sans Light" pitchFamily="2" charset="0"/>
              </a:rPr>
              <a:t>Горячая линия: </a:t>
            </a:r>
            <a:r>
              <a:rPr lang="en-US" altLang="ru-RU" sz="1400" dirty="0">
                <a:solidFill>
                  <a:schemeClr val="bg1"/>
                </a:solidFill>
                <a:cs typeface="Open Sans Light" pitchFamily="2" charset="0"/>
              </a:rPr>
              <a:t>vopros</a:t>
            </a:r>
            <a:r>
              <a:rPr lang="ru-RU" altLang="ru-RU" sz="1400" dirty="0">
                <a:solidFill>
                  <a:schemeClr val="bg1"/>
                </a:solidFill>
                <a:cs typeface="Open Sans Light" pitchFamily="2" charset="0"/>
              </a:rPr>
              <a:t>@</a:t>
            </a:r>
            <a:r>
              <a:rPr lang="en-US" altLang="ru-RU" sz="1400" dirty="0" err="1">
                <a:solidFill>
                  <a:schemeClr val="bg1"/>
                </a:solidFill>
                <a:cs typeface="Open Sans Light" pitchFamily="2" charset="0"/>
              </a:rPr>
              <a:t>prosv</a:t>
            </a:r>
            <a:r>
              <a:rPr lang="ru-RU" altLang="ru-RU" sz="1400" dirty="0">
                <a:solidFill>
                  <a:schemeClr val="bg1"/>
                </a:solidFill>
                <a:cs typeface="Open Sans Light" pitchFamily="2" charset="0"/>
              </a:rPr>
              <a:t>.</a:t>
            </a:r>
            <a:r>
              <a:rPr lang="en-US" altLang="ru-RU" sz="1400" dirty="0" err="1">
                <a:solidFill>
                  <a:schemeClr val="bg1"/>
                </a:solidFill>
                <a:cs typeface="Open Sans Light" pitchFamily="2" charset="0"/>
              </a:rPr>
              <a:t>ru</a:t>
            </a:r>
            <a:endParaRPr lang="ru-RU" altLang="ru-RU" sz="1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51200" y="1333897"/>
            <a:ext cx="3889375" cy="510778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2400" b="1">
                <a:solidFill>
                  <a:srgbClr val="28458D"/>
                </a:solidFill>
                <a:cs typeface="Open Sans Condensed" pitchFamily="2" charset="0"/>
              </a:defRPr>
            </a:lvl1pPr>
          </a:lstStyle>
          <a:p>
            <a:pPr algn="ctr"/>
            <a:r>
              <a:rPr lang="ru-RU" dirty="0">
                <a:solidFill>
                  <a:schemeClr val="bg1"/>
                </a:solidFill>
              </a:rPr>
              <a:t>Повторение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68043" y="3336174"/>
            <a:ext cx="4239491" cy="510778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2400" b="1">
                <a:solidFill>
                  <a:schemeClr val="bg1"/>
                </a:solidFill>
                <a:cs typeface="Open Sans Condensed" pitchFamily="2" charset="0"/>
              </a:defRPr>
            </a:lvl1pPr>
          </a:lstStyle>
          <a:p>
            <a:r>
              <a:rPr lang="ru-RU" dirty="0" smtClean="0"/>
              <a:t>Планируемые результаты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983673" y="3336174"/>
            <a:ext cx="3499658" cy="510778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2400" b="1">
                <a:solidFill>
                  <a:schemeClr val="bg1"/>
                </a:solidFill>
                <a:cs typeface="Open Sans Condensed" pitchFamily="2" charset="0"/>
              </a:defRPr>
            </a:lvl1pPr>
          </a:lstStyle>
          <a:p>
            <a:r>
              <a:rPr lang="ru-RU" dirty="0"/>
              <a:t>Сложные темы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251200" y="5030549"/>
            <a:ext cx="3889375" cy="919401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2400" b="1">
                <a:solidFill>
                  <a:schemeClr val="bg1"/>
                </a:solidFill>
                <a:cs typeface="Open Sans Condensed" pitchFamily="2" charset="0"/>
              </a:defRPr>
            </a:lvl1pPr>
          </a:lstStyle>
          <a:p>
            <a:r>
              <a:rPr lang="ru-RU" dirty="0"/>
              <a:t>Коррекционная работа, рекомендации на лето</a:t>
            </a:r>
          </a:p>
        </p:txBody>
      </p:sp>
      <p:cxnSp>
        <p:nvCxnSpPr>
          <p:cNvPr id="7" name="Прямая со стрелкой 6"/>
          <p:cNvCxnSpPr/>
          <p:nvPr/>
        </p:nvCxnSpPr>
        <p:spPr>
          <a:xfrm flipH="1">
            <a:off x="2975956" y="2044931"/>
            <a:ext cx="1305099" cy="1172094"/>
          </a:xfrm>
          <a:prstGeom prst="straightConnector1">
            <a:avLst/>
          </a:prstGeom>
          <a:ln w="38100"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 стрелкой 7"/>
          <p:cNvCxnSpPr/>
          <p:nvPr/>
        </p:nvCxnSpPr>
        <p:spPr>
          <a:xfrm>
            <a:off x="6406342" y="2044931"/>
            <a:ext cx="1269075" cy="1212648"/>
          </a:xfrm>
          <a:prstGeom prst="straightConnector1">
            <a:avLst/>
          </a:prstGeom>
          <a:ln w="38100"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/>
          <p:cNvCxnSpPr/>
          <p:nvPr/>
        </p:nvCxnSpPr>
        <p:spPr>
          <a:xfrm>
            <a:off x="3333404" y="3966101"/>
            <a:ext cx="806334" cy="955034"/>
          </a:xfrm>
          <a:prstGeom prst="straightConnector1">
            <a:avLst/>
          </a:prstGeom>
          <a:ln w="38100"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 flipH="1">
            <a:off x="6046124" y="3966101"/>
            <a:ext cx="994756" cy="980646"/>
          </a:xfrm>
          <a:prstGeom prst="straightConnector1">
            <a:avLst/>
          </a:prstGeom>
          <a:ln w="38100"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226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515937" y="1126917"/>
            <a:ext cx="53135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Познавательные универсальные учебные действия: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15937" y="1621525"/>
            <a:ext cx="940945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Базовые логические действия: </a:t>
            </a:r>
            <a:endParaRPr lang="ru-RU" dirty="0" smtClean="0"/>
          </a:p>
          <a:p>
            <a:r>
              <a:rPr lang="ru-RU" dirty="0" smtClean="0"/>
              <a:t>— </a:t>
            </a:r>
            <a:r>
              <a:rPr lang="ru-RU" dirty="0"/>
              <a:t>сравнивать звуки в соответствии с учебной задачей; </a:t>
            </a:r>
            <a:endParaRPr lang="ru-RU" dirty="0" smtClean="0"/>
          </a:p>
          <a:p>
            <a:r>
              <a:rPr lang="ru-RU" dirty="0" smtClean="0"/>
              <a:t>— </a:t>
            </a:r>
            <a:r>
              <a:rPr lang="ru-RU" dirty="0"/>
              <a:t>сравнивать звуковой и буквенный состав слова в соответствии с учебной задачей; </a:t>
            </a:r>
            <a:endParaRPr lang="ru-RU" dirty="0" smtClean="0"/>
          </a:p>
          <a:p>
            <a:r>
              <a:rPr lang="ru-RU" dirty="0" smtClean="0"/>
              <a:t>— </a:t>
            </a:r>
            <a:r>
              <a:rPr lang="ru-RU" dirty="0"/>
              <a:t>устанавливать основания для сравнения звуков, слов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49436" y="2989562"/>
            <a:ext cx="886081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Базовые исследовательские действия</a:t>
            </a:r>
            <a:r>
              <a:rPr lang="ru-RU" dirty="0" smtClean="0"/>
              <a:t>:</a:t>
            </a:r>
          </a:p>
          <a:p>
            <a:r>
              <a:rPr lang="ru-RU" dirty="0" smtClean="0"/>
              <a:t> </a:t>
            </a:r>
            <a:r>
              <a:rPr lang="ru-RU" dirty="0"/>
              <a:t>— проводить изменения звуковой модели по предложенному учителем правилу, подбирать слова к модели</a:t>
            </a:r>
            <a:r>
              <a:rPr lang="ru-RU" dirty="0" smtClean="0"/>
              <a:t>;</a:t>
            </a:r>
          </a:p>
          <a:p>
            <a:r>
              <a:rPr lang="ru-RU" dirty="0" smtClean="0"/>
              <a:t>— </a:t>
            </a:r>
            <a:r>
              <a:rPr lang="ru-RU" dirty="0"/>
              <a:t>формулировать выводы о соответствии звукового и буквенного состава слова;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15938" y="4468684"/>
            <a:ext cx="817813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Работа с информацией</a:t>
            </a:r>
            <a:r>
              <a:rPr lang="ru-RU" dirty="0" smtClean="0"/>
              <a:t>:</a:t>
            </a:r>
          </a:p>
          <a:p>
            <a:r>
              <a:rPr lang="ru-RU" dirty="0"/>
              <a:t>— анализировать графическую информацию — модели звукового состава слова;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49436" y="194397"/>
            <a:ext cx="111634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28458D"/>
                </a:solidFill>
                <a:cs typeface="Open Sans Condensed" pitchFamily="2" charset="0"/>
              </a:rPr>
              <a:t>1 класс. Формирование на пропедевтическом уровне универсальных учебных действий.</a:t>
            </a:r>
          </a:p>
        </p:txBody>
      </p:sp>
    </p:spTree>
    <p:extLst>
      <p:ext uri="{BB962C8B-B14F-4D97-AF65-F5344CB8AC3E}">
        <p14:creationId xmlns:p14="http://schemas.microsoft.com/office/powerpoint/2010/main" val="2527789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515937" y="811033"/>
            <a:ext cx="9569927" cy="14773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— вычленять звуки из слова</a:t>
            </a:r>
            <a:r>
              <a:rPr lang="ru-RU" dirty="0" smtClean="0"/>
              <a:t>;</a:t>
            </a:r>
          </a:p>
          <a:p>
            <a:r>
              <a:rPr lang="ru-RU" dirty="0"/>
              <a:t>— различать ударные и безударные гласные звуки</a:t>
            </a:r>
            <a:r>
              <a:rPr lang="ru-RU" dirty="0" smtClean="0"/>
              <a:t>;</a:t>
            </a:r>
          </a:p>
          <a:p>
            <a:r>
              <a:rPr lang="ru-RU" dirty="0" smtClean="0"/>
              <a:t>— </a:t>
            </a:r>
            <a:r>
              <a:rPr lang="ru-RU" dirty="0"/>
              <a:t>различать согласные звуки: мягкие и твёрдые, звонкие и глухие (вне слова и в слове</a:t>
            </a:r>
            <a:r>
              <a:rPr lang="ru-RU" dirty="0" smtClean="0"/>
              <a:t>);</a:t>
            </a:r>
          </a:p>
          <a:p>
            <a:r>
              <a:rPr lang="ru-RU" dirty="0"/>
              <a:t>— обозначать на письме мягкость согласных звуков буквами е, ё, ю, я и буквой ь в конце </a:t>
            </a:r>
            <a:r>
              <a:rPr lang="ru-RU" dirty="0" smtClean="0"/>
              <a:t>слова</a:t>
            </a:r>
          </a:p>
          <a:p>
            <a:r>
              <a:rPr lang="ru-RU" dirty="0"/>
              <a:t>— находить и исправлять ошибки на изученные правила, описки;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15937" y="296224"/>
            <a:ext cx="102906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28458D"/>
                </a:solidFill>
                <a:cs typeface="Open Sans Condensed" pitchFamily="2" charset="0"/>
              </a:rPr>
              <a:t>1 класс. Предметные результаты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78759" y="2579316"/>
            <a:ext cx="8741047" cy="14773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4 </a:t>
            </a:r>
            <a:r>
              <a:rPr lang="ru-RU" dirty="0" smtClean="0"/>
              <a:t>класс. Предметные результаты</a:t>
            </a:r>
          </a:p>
          <a:p>
            <a:endParaRPr lang="ru-RU" dirty="0" smtClean="0"/>
          </a:p>
          <a:p>
            <a:r>
              <a:rPr lang="ru-RU" dirty="0"/>
              <a:t>— определять грамматические признаки личного местоимения в начальной форме: </a:t>
            </a:r>
            <a:endParaRPr lang="ru-RU" dirty="0" smtClean="0"/>
          </a:p>
          <a:p>
            <a:r>
              <a:rPr lang="ru-RU" dirty="0" smtClean="0"/>
              <a:t>лицо</a:t>
            </a:r>
            <a:r>
              <a:rPr lang="ru-RU" dirty="0"/>
              <a:t>, число, род (у местоимений 3­го  лица в единственном числе); </a:t>
            </a:r>
            <a:endParaRPr lang="ru-RU" dirty="0" smtClean="0"/>
          </a:p>
          <a:p>
            <a:r>
              <a:rPr lang="ru-RU" dirty="0" smtClean="0"/>
              <a:t>использовать </a:t>
            </a:r>
            <a:r>
              <a:rPr lang="ru-RU" dirty="0"/>
              <a:t>личные местоимения для устранения неоправданных повторов в тексте;</a:t>
            </a:r>
          </a:p>
        </p:txBody>
      </p:sp>
    </p:spTree>
    <p:extLst>
      <p:ext uri="{BB962C8B-B14F-4D97-AF65-F5344CB8AC3E}">
        <p14:creationId xmlns:p14="http://schemas.microsoft.com/office/powerpoint/2010/main" val="4440649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8072" y="1883859"/>
            <a:ext cx="3002465" cy="3002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5961" y="2069829"/>
            <a:ext cx="2819610" cy="281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5612563" y="1000698"/>
            <a:ext cx="24356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b="1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дельные модули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57738" y="4852215"/>
            <a:ext cx="280910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09630">
              <a:defRPr/>
            </a:pPr>
            <a:r>
              <a:rPr lang="en-US" sz="1400" spc="36" dirty="0">
                <a:solidFill>
                  <a:srgbClr val="14110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тветствие </a:t>
            </a:r>
            <a:r>
              <a:rPr lang="ru-RU" sz="1400" spc="36" dirty="0">
                <a:solidFill>
                  <a:srgbClr val="14110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ификаторам проверяемых элементов содержания и требований</a:t>
            </a:r>
          </a:p>
          <a:p>
            <a:pPr algn="ctr" defTabSz="609630">
              <a:defRPr/>
            </a:pPr>
            <a:r>
              <a:rPr lang="ru-RU" sz="1400" spc="36" dirty="0">
                <a:solidFill>
                  <a:srgbClr val="14110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уровню подготовки обучающихся</a:t>
            </a:r>
            <a:endParaRPr lang="en-US" sz="1400" spc="36" dirty="0">
              <a:solidFill>
                <a:srgbClr val="14110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3322822" y="1091897"/>
            <a:ext cx="1330654" cy="582453"/>
            <a:chOff x="1298850" y="2857142"/>
            <a:chExt cx="1330654" cy="667758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1298850" y="2857142"/>
              <a:ext cx="1330654" cy="667758"/>
            </a:xfrm>
            <a:prstGeom prst="roundRect">
              <a:avLst/>
            </a:prstGeom>
            <a:solidFill>
              <a:srgbClr val="5788D4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" name="TextBox 30"/>
            <p:cNvSpPr txBox="1">
              <a:spLocks noChangeArrowheads="1"/>
            </p:cNvSpPr>
            <p:nvPr/>
          </p:nvSpPr>
          <p:spPr bwMode="auto">
            <a:xfrm>
              <a:off x="1409776" y="2943983"/>
              <a:ext cx="1108802" cy="468469"/>
            </a:xfrm>
            <a:prstGeom prst="roundRect">
              <a:avLst/>
            </a:prstGeom>
            <a:solidFill>
              <a:srgbClr val="E1EDFF"/>
            </a:solidFill>
            <a:ln>
              <a:noFill/>
            </a:ln>
            <a:effectLst>
              <a:glow rad="101600">
                <a:srgbClr val="4472C4">
                  <a:satMod val="175000"/>
                  <a:alpha val="40000"/>
                </a:srgbClr>
              </a:glow>
            </a:effec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b="1" i="0" u="none" strike="noStrike" kern="0" cap="none" spc="0" normalizeH="0" baseline="0" noProof="0" dirty="0">
                  <a:ln>
                    <a:noFill/>
                  </a:ln>
                  <a:solidFill>
                    <a:srgbClr val="FF6D42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Я учусь</a:t>
              </a:r>
            </a:p>
          </p:txBody>
        </p:sp>
      </p:grpSp>
      <p:grpSp>
        <p:nvGrpSpPr>
          <p:cNvPr id="26" name="Группа 25"/>
          <p:cNvGrpSpPr/>
          <p:nvPr/>
        </p:nvGrpSpPr>
        <p:grpSpPr>
          <a:xfrm>
            <a:off x="8214496" y="1208323"/>
            <a:ext cx="2228132" cy="613576"/>
            <a:chOff x="1600200" y="2508253"/>
            <a:chExt cx="1173981" cy="703439"/>
          </a:xfrm>
        </p:grpSpPr>
        <p:sp>
          <p:nvSpPr>
            <p:cNvPr id="27" name="Скругленный прямоугольник 26"/>
            <p:cNvSpPr/>
            <p:nvPr/>
          </p:nvSpPr>
          <p:spPr>
            <a:xfrm>
              <a:off x="1600200" y="2508253"/>
              <a:ext cx="1173981" cy="703439"/>
            </a:xfrm>
            <a:prstGeom prst="roundRect">
              <a:avLst/>
            </a:prstGeom>
            <a:solidFill>
              <a:srgbClr val="5788D4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" name="TextBox 30"/>
            <p:cNvSpPr txBox="1">
              <a:spLocks noChangeArrowheads="1"/>
            </p:cNvSpPr>
            <p:nvPr/>
          </p:nvSpPr>
          <p:spPr bwMode="auto">
            <a:xfrm>
              <a:off x="1646807" y="2622908"/>
              <a:ext cx="1067151" cy="468469"/>
            </a:xfrm>
            <a:prstGeom prst="roundRect">
              <a:avLst/>
            </a:prstGeom>
            <a:solidFill>
              <a:srgbClr val="E1EDFF"/>
            </a:solidFill>
            <a:ln>
              <a:noFill/>
            </a:ln>
            <a:effectLst>
              <a:glow rad="101600">
                <a:srgbClr val="4472C4">
                  <a:satMod val="175000"/>
                  <a:alpha val="40000"/>
                </a:srgbClr>
              </a:glow>
            </a:effec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b="1" i="0" u="none" strike="noStrike" kern="0" cap="none" spc="0" normalizeH="0" baseline="0" noProof="0" dirty="0">
                  <a:ln>
                    <a:noFill/>
                  </a:ln>
                  <a:solidFill>
                    <a:srgbClr val="FF6D42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Проверяю себя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227445" y="5658242"/>
            <a:ext cx="17474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2C4F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накомиться и получить </a:t>
            </a:r>
            <a:r>
              <a:rPr lang="ru-RU" sz="1600" b="1" dirty="0" err="1">
                <a:solidFill>
                  <a:srgbClr val="2C4F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мо</a:t>
            </a:r>
            <a:r>
              <a:rPr lang="ru-RU" sz="1600" b="1" dirty="0">
                <a:solidFill>
                  <a:srgbClr val="2C4F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доступ  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799222" y="1883860"/>
            <a:ext cx="2963283" cy="3002465"/>
            <a:chOff x="1529300" y="1449337"/>
            <a:chExt cx="2348738" cy="2350005"/>
          </a:xfrm>
        </p:grpSpPr>
        <p:pic>
          <p:nvPicPr>
            <p:cNvPr id="12" name="Рисунок 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9300" y="1449337"/>
              <a:ext cx="2348738" cy="23500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Рисунок 34"/>
            <p:cNvPicPr>
              <a:picLocks noChangeAspect="1"/>
            </p:cNvPicPr>
            <p:nvPr/>
          </p:nvPicPr>
          <p:blipFill rotWithShape="1">
            <a:blip r:embed="rId6"/>
            <a:srcRect t="2017" b="2067"/>
            <a:stretch/>
          </p:blipFill>
          <p:spPr>
            <a:xfrm>
              <a:off x="1719459" y="2217056"/>
              <a:ext cx="1051242" cy="1438102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716315" y="2217056"/>
              <a:ext cx="1022287" cy="1419844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8"/>
          <a:srcRect l="3292"/>
          <a:stretch/>
        </p:blipFill>
        <p:spPr>
          <a:xfrm>
            <a:off x="4440225" y="3002120"/>
            <a:ext cx="118272" cy="284005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8"/>
          <a:srcRect l="3292"/>
          <a:stretch/>
        </p:blipFill>
        <p:spPr>
          <a:xfrm>
            <a:off x="5628792" y="2800347"/>
            <a:ext cx="94131" cy="226036"/>
          </a:xfrm>
          <a:prstGeom prst="rect">
            <a:avLst/>
          </a:prstGeom>
        </p:spPr>
      </p:pic>
      <p:sp>
        <p:nvSpPr>
          <p:cNvPr id="38" name="Овал 37">
            <a:extLst>
              <a:ext uri="{FF2B5EF4-FFF2-40B4-BE49-F238E27FC236}">
                <a16:creationId xmlns:a16="http://schemas.microsoft.com/office/drawing/2014/main" xmlns="" id="{5C9F0620-8FC4-4207-8EE5-29F05DC89AC2}"/>
              </a:ext>
            </a:extLst>
          </p:cNvPr>
          <p:cNvSpPr/>
          <p:nvPr/>
        </p:nvSpPr>
        <p:spPr>
          <a:xfrm>
            <a:off x="364502" y="1135546"/>
            <a:ext cx="727954" cy="724711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AutoShape 2" descr="data:image/svg+xml;base64,CiAgPHN2ZwogICAgdmVyc2lvbj0iMS4xIgogICAgdmlld0JveD0iMCAwIDM2NjMgMzY2MyIKICAgIHdpZHRoPSIyNTZweCIKICAgIGhlaWdodD0iMjU2cHgiCiAgICAKICAgIHhtbDpzcGFjZT0icHJlc2VydmUiIHhtbG5zPSJodHRwOi8vd3d3LnczLm9yZy8yMDAwL3N2ZyIgeG1sbnM6eGxpbms9Imh0dHA6Ly93d3cudzMub3JnLzE5OTkveGxpbmsiCiAgPgogICAgPGRlZnM+CiAgICAgIDxyZWN0IGlkPSJyZWN0LTAiIHdpZHRoPSIxMDAiIGhlaWdodD0iMTAwIiBmaWxsPSIjMDAwMDAwIi8+CiAgICAgIDxwYXRoCiAgICAgICAgaWQ9ImVtcHR5LTAiCiAgICAgICAgZD0iTTAsMjguNnY0Mi45QzAsODcuMywxMi44LDEwMCwyOC42LDEwMGg0Mi45YzE1LjksMCwyOC42LTEyLjgsMjguNi0yOC42VjI4LjZDMTAwLDEyLjcsODcuMiwwLDcxLjQsMEgyOC42IEMxMi44LDAsMCwxMi44LDAsMjguNnoiCiAgICAgICAgZmlsbD0iIzAwMDAwMCIKICAgICAgLz4KICAgICAgPHBhdGggaWQ9ImItMCIgZD0iTTAsMCBMNjYsMCBDODQuNzc3NjgxNSwtMy40NDk0MDQxM2UtMTUgMTAwLDE1LjIyMjMxODUgMTAwLDM0IEwxMDAsNjYgQzEwMCw4NC43Nzc2ODE1IDg0Ljc3NzY4MTUsMTAwIDY2LDEwMCBMMCwxMDAgTDAsMCBaIiB0cmFuc2Zvcm09InJvdGF0ZSgtOTAgNTAgNTApIiBmaWxsPSIjMDAwMDAwIi8+CiAgICAgIDxwYXRoIGlkPSJyLTAiIGQ9Ik0wLDAgTDY2LDAgQzg0Ljc3NzY4MTUsLTMuNDQ5NDA0MTNlLTE1IDEwMCwxNS4yMjIzMTg1IDEwMCwzNCBMMTAwLDY2IEMxMDAsODQuNzc3NjgxNSA4NC43Nzc2ODE1LDEwMCA2NiwxMDAgTDAsMTAwIEwwLDAgWiIgdHJhbnNmb3JtPSJyb3RhdGUoLTE4MCA1MCA1MCkiIGZpbGw9IiMwMDAwMDAiLz4KICAgICAgPHBhdGggaWQ9ImwtMCIgZD0iTTAsMCBMNjYsMCBDODQuNzc3NjgxNSwtMy40NDk0MDQxM2UtMTUgMTAwLDE1LjIyMjMxODUgMTAwLDM0IEwxMDAsNjYgQzEwMCw4NC43Nzc2ODE1IDg0Ljc3NzY4MTUsMTAwIDY2LDEwMCBMMCwxMDAgTDAsMCBaIiBmaWxsPSIjMDAwMDAwIi8+CiAgICAgIDxwYXRoIGlkPSJ0LTAiIGQ9Ik0wLDAgTDY2LDAgQzg0Ljc3NzY4MTUsLTMuNDQ5NDA0MTNlLTE1IDEwMCwxNS4yMjIzMTg1IDEwMCwzNCBMMTAwLDY2IEMxMDAsODQuNzc3NjgxNSA4NC43Nzc2ODE1LDEwMCA2NiwxMDAgTDAsMTAwIEwwLDAgWiIgdHJhbnNmb3JtPSJyb3RhdGUoOTAgNTAgNTApIiBmaWxsPSIjMDAwMDAwIi8+CiAgICAgIDxwYXRoIGlkPSJsLTAiIGQ9Ik0wLDAgTDEwMCwwIEwxMDAsNjYgQzEwMCw4NC43Nzc2ODE1IDg0Ljc3NzY4MTUsMTAwIDY2LDEwMCBMMCwxMDAgTDAsMCBaIiB0cmFuc2Zvcm09InJvdGF0ZSgtOTAgNTAgNTApIiBmaWxsPSIjMDAwMDAwIi8+CiAgICAgIDxwYXRoIGlkPSJsdC0wIiBkPSJNMCwwIEwxMDAsMCBMMTAwLDY2IEMxMDAsODQuNzc3NjgxNSA4NC43Nzc2ODE1LDEwMCA2NiwxMDAgTDAsMTAwIEwwLDAgWiIgZmlsbD0iIzAwMDAwMCIvPgogICAgICA8cGF0aCBpZD0ibGItMCIgZD0iTTAsMCBMMTAwLDAgTDEwMCw2NiBDMTAwLDg0Ljc3NzY4MTUgODQuNzc3NjgxNSwxMDAgNjYsMTAwIEwwLDEwMCBMMCwwIFoiIHRyYW5zZm9ybT0icm90YXRlKC05MCA1MCA1MCkiIGZpbGw9IiMwMDAwMDAiLz4KICAgICAgPHBhdGggaWQ9InJiLTAiIGQ9Ik0wLDAgTDEwMCwwIEwxMDAsNjYgQzEwMCw4NC43Nzc2ODE1IDg0Ljc3NzY4MTUsMTAwIDY2LDEwMCBMMCwxMDAgTDAsMCBaIiB0cmFuc2Zvcm09InJvdGF0ZSgtMTgwIDUwIDUwKSIgZmlsbD0iIzAwMDAwMCIvPgogICAgICA8cGF0aCBpZD0icnQtMCIgZD0iTTAsMCBMMTAwLDAgTDEwMCw2NiBDMTAwLDg0Ljc3NzY4MTUgODQuNzc3NjgxNSwxMDAgNjYsMTAwIEwwLDEwMCBMMCwwIFoiIHRyYW5zZm9ybT0icm90YXRlKDkwIDUwIDUwKSIgZmlsbD0iIzAwMDAwMCIvPgogICAgICA8cGF0aAogICAgICAgIGlkPSJuX2x0LTAiCiAgICAgICAgZD0iTTMwLjUsMlYwSDB2MzAuNWgyQzIsMTQuNywxNC44LDIsMzAuNSwyeiIKICAgICAgICBmaWxsPSIjMDAwMDAwIgogICAgICAvPgogICAgICA8cGF0aAogICAgICAgIGlkPSJuX2xiLTAiCiAgICAgICAgZD0iTTIsNjkuNUgwVjEwMGgzMC41di0yQzE0LjcsOTgsMiw4NS4yLDIsNjkuNXoiCiAgICAgICAgZmlsbD0iIzAwMDAwMCIKICAgICAgLz4KICAgICAgPHBhdGgKICAgICAgICBpZD0ibl9ydC0wIgogICAgICAgIGQ9Ik05OCwzMC41aDJWMEg2OS41djJDODUuMywyLDk4LDE0LjgsOTgsMzAuNXoiCiAgICAgICAgZmlsbD0iIzAwMDAwMCIKICAgICAgLz4KICAgICAgPHBhdGggaWQ9Im5fcmItMCIKICAgICAgICBkPSJNNjkuNSw5OHYySDEwMFY2OS41aC0yQzk4LDg1LjMsODUuMiw5OCw2OS41LDk4eiIKICAgICAgICBmaWxsPSIjMDAwMDAwIgogICAgICAvPgogICAgICA8cGF0aAogICAgICAgIGlkPSJwb2ludC0wIgogICAgICAgIGZpbGw9IiMwMDAwMDAiCiAgICAgICAgZD0iTTYwMC4wMDE3ODYsNDU3LjMyOTMzMyBMNjAwLjAwMTc4NiwyNDIuNjU4MTY3IEM2MDAuMDAxNzg2LDE0Ny4zNzIzNjggNTg3LjAzOTUxNywxMjQuMTIyNzg0IDU4MS40NjQ2MTcsMTE4LjUzNTM4MyBDNTc1Ljg3NzIxNiwxMTIuOTYwNDgzIDU1Mi42Mjc2MzIsOTkuOTk4MjE0MyA0NTcuMzI5MzMzLDk5Ljk5ODIxNDMgTDI0Mi42NzA2NjcsOTkuOTk4MjE0MyBDMTQ3LjM3MjM2OCw5OS45OTgyMTQzIDEyNC4xMjI3ODQsMTEyLjk2MDQ4MyAxMTguNTQ3ODgzLDExOC41MzUzODMgQzExMi45NzI5ODMsMTI0LjEyMjc4NCA5OS45OTgyMTQzLDE0Ny4zNzIzNjggOTkuOTk4MjE0MywyNDIuNjU4MTY3IEw5OS45OTgyMTQzLDQ1Ny4zMjkzMzMgQzk5Ljk5ODIxNDMsNTUyLjYyNzYzMiAxMTIuOTcyOTgzLDU3NS44NzcyMTYgMTE4LjU0Nzg4Myw1ODEuNDY0NjE3IEMxMjQuMTIyNzg0LDU4Ny4wMjcwMTcgMTQ3LjM3MjM2OCw2MDAuMDAxNzg2IDI0Mi42NzA2NjcsNjAwLjAwMTc4NiBMNDU3LjMyOTMzMyw2MDAuMDAxNzg2IEM1NTIuNjI3NjMyLDYwMC4wMDE3ODYgNTc1Ljg3NzIxNiw1ODcuMDI3MDE3IDU4MS40NjQ2MTcsNTgxLjQ2NDYxNyBDNTg3LjAzOTUxNyw1NzUuODc3MjE2IDYwMC4wMDE3ODYsNTUyLjYyNzYzMiA2MDAuMDAxNzg2LDQ1Ny4zMjkzMzMgWiBNNDU3LjMyOTMzMywwIEM2NTMuMzM4MzMzLDAgNzAwLDQ2LjY2MTY2NjggNzAwLDI0Mi42NTgxNjcgQzcwMCw0MzguNjY3MTY3IDcwMCwyNjEuMzMyODMzIDcwMCw0NTcuMzI5MzMzIEM3MDAsNjUzLjMzODMzMyA2NTMuMzM4MzMzLDcwMCA0NTcuMzI5MzMzLDcwMCBDMjYxLjMzMjgzMyw3MDAgNDM4LjY2NzE2Nyw3MDAgMjQyLjY3MDY2Nyw3MDAgQzQ2LjY2MTY2NjgsNzAwIDAsNjUzLjMzODMzMyAwLDQ1Ny4zMjkzMzMgQzAsMjYxLjMzMjgzMyAwLDM1Mi4xMTg3MTIgMCwyNDIuNjU4MTY3IEMwLDQ2LjY2MTY2NjggNDYuNjYxNjY2OCwwIDI0Mi42NzA2NjcsMCBDNDM4LjY2NzE2NywwIDI2MS4zMzI4MzMsMCA0NTcuMzI5MzMzLDAgWiBNMzk1Ljk5NjY2NywyMDAgQzQ4MC4wMDQxNjYsMjAwIDUwMCwyMjAuMDA4MzMyIDUwMCwzMDMuOTkwODM1IEM1MDAsMzg3Ljk5ODMzNCA1MDAsMzEyLjAwMTY2NiA1MDAsMzk1Ljk5NjY2NyBDNTAwLDQ3OS45OTE2NjggNDgwLjAwNDE2Niw1MDAgMzk1Ljk5NjY2Nyw1MDAgQzMxMi4wMDE2NjYsNTAwIDM4Ny45OTgzMzQsNTAwIDMwNC4wMDMzMzMsNTAwIEMyMjAuMDA4MzMyLDUwMCAyMDAsNDc5Ljk5MTY2OCAyMDAsMzk1Ljk5NjY2NyBDMjAwLDMxMi4wMDE2NjYgMjAwLDM1MC45MDYwNjEgMjAwLDMwMy45OTA4MzUgQzIwMCwyMjAuMDA4MzMyIDIyMC4wMDgzMzIsMjAwIDMwNC4wMDMzMzMsMjAwIEMzODcuOTk4MzM0LDIwMCAzMTIuMDAxNjY2LDIwMCAzOTUuOTk2NjY3LDIwMCBaIgogICAgICAvPgogICAgICA8ZyBpZD0idmtfbG9nby0wIj4KICAgICAgICA8cGF0aAogICAgICAgICAgZmlsbD0iIzA3ZiIKICAgICAgICAgIGQ9Ik04My4zMzM0IDM2My4zMzNDODMuMzMzNCAyMzEuMzQgODMuMzMzNCAxNjUuMzQzIDEyNC4zMzggMTI0LjMzOEMxNjUuMzQzIDgzLjMzMzMgMjMxLjM0ICAgICAgICAgICAgICA4My4zMzMzIDM2My4zMzMgODMuMzMzM0gzODYuNjY3QzUxOC42NiA4My4zMzMzIDU4NC42NTcgODMuMzMzMyA2MjUuNjYyIDEyNC4zMzhDNjY2LjY2NyAxNjUuMzQzICAgICAgICAgICAgICA2NjYuNjY3IDIzMS4zNCA2NjYuNjY3IDM2My4zMzNWMzg2LjY2N0M2NjYuNjY3IDUxOC42NiA2NjYuNjY3IDU4NC42NTcgNjI1LjY2MiA2MjUuNjYyQzU4NC42NTcgICAgICAgICAgICAgIDY2Ni42NjcgNTE4LjY2IDY2Ni42NjcgMzg2LjY2NyA2NjYuNjY3SDM2My4zMzNDMjMxLjM0IDY2Ni42NjcgMTY1LjM0MyA2NjYuNjY3IDEyNC4zMzggNjI1LjY2MkM4My4zMzM0ICAgICAgICAgICAgICA1ODQuNjU3IDgzLjMzMzQgNTE4LjY2IDgzLjMzMzQgMzg2LjY2N1YzNjMuMzMzWiIKICAgICAgICAvPgogICAgICAgIDxwYXRoCiAgICAgICAgICBmaWxsPSIjRkZGIgogICAgICAgICAgZD0iTTM5NC45MDcgNTA4LjY4MUMyNjMuMjkzIDUwOC42ODEgMTgzLjQ0MiA0MTcuMzY1IDE4MC4zMTMgMjY1LjYyNUgyNDYuOTcyQzI0OS4wNSAzNzcuMDkgICAgICAgICAgICAgIDI5OS43NjMgNDI0LjMyMyAzMzguNjM4IDQzNC4wMzZWMjY1LjYyNUg0MDIuNTE5VjM2MS44MkM0NDAuMDE2IDM1Ny42NjQgNDc5LjI2NCAzMTMuOTA5ICAgICAgICAgICAgICA0OTIuNDU2IDI2NS42MjVINTU1LjMzM0M1NDUuMjcgMzI1IDUwMi41NDMgMzY4Ljc1NCA0NzIuMzUzIDM4Ni44MDNDNTAyLjU2NiA0MDEuMzk1IDU1MS4xNzcgICAgICAgICAgICAgIDQzOS41OTMgNTY5LjkyNiA1MDguNjgxSDUwMC44MTVDNDg2LjIyMiA0NjIuNDk4IDQ1MC40NzYgNDI2LjcyOCA0MDIuNTQyIDQyMS44NzJWNTA4LjY4MUgzOTQuOTA3WiIKICAgICAgICAvPgogICAgICA8L2c+CiAgICAgIDxjbGlwUGF0aCBpZD0ibG9nby1tYXNrLTAiPgogICAgICAgIDxyZWN0IHg9IjAiIHk9IjAiIHdpZHRoPSI3NTAiIGhlaWdodD0iNzUwIiAvPgogICAgICA8L2NsaXBQYXRoPgogICAgPC9kZWZzPgoKICAgIAogICAgICA8cmVjdAogICAgICAgIHg9IjAiCiAgICAgICAgd2lkdGg9IjM2NjMiCiAgICAgICAgaGVpZ2h0PSIzNjYzIgogICAgICAgIHJ4PSI1MTYiCiAgICAgICAgZmlsbD0iI2ZmZmZmZiIKICAgICAgLz4KCiAgICA8ZyB0cmFuc2Zvcm09InRyYW5zbGF0ZSgzMDAuNDgwNDY4NzUsIDMwMC40ODA0Njg3NSkgc2NhbGUoMC44NDM3NSkiPgogICAgICA8ZyB0cmFuc2Zvcm09InRyYW5zbGF0ZSg5NzAsMCkiPjx1c2UgeGxpbms6aHJlZj0iI2VtcHR5LTAiLz48L2c+CjxnIHRyYW5zZm9ybT0idHJhbnNsYXRlKDExNjQsMCkiPjx1c2UgeGxpbms6aHJlZj0iI3ItMCIvPjwvZz4KPGcgdHJhbnNmb3JtPSJ0cmFuc2xhdGUoMTI2MSwwKSI+PHVzZSB4bGluazpocmVmPSIjcmVjdC0wIi8+PC9nPgo8ZyB0cmFuc2Zvcm09InRyYW5zbGF0ZSgxMzU4LDApIj48dXNlIHhsaW5rOmhyZWY9IiNyZWN0LTAiLz48L2c+CjxnIHRyYW5zZm9ybT0idHJhbnNsYXRlKDE0NTUsMCkiPjx1c2UgeGxpbms6aHJlZj0iI2wtMCIvPjwvZz4KPGcgdHJhbnNmb3JtPSJ0cmFuc2xhdGUoMTY0OSwwKSI+PHVzZSB4bGluazpocmVmPSIjYi0wIi8+PC9nPgo8ZyB0cmFuc2Zvcm09InRyYW5zbGF0ZSgxOTQwLDApIj48dXNlIHhsaW5rOmhyZWY9IiNuX3JiLTAiLz48L2c+CjxnIHRyYW5zZm9ybT0idHJhbnNsYXRlKDIwMzcsMCkiPjx1c2UgeGxpbms6aHJlZj0iI2ItMCIvPjwvZz4KPGcgdHJhbnNmb3JtPSJ0cmFuc2xhdGUoMTI2MSw5NykiPjx1c2UgeGxpbms6aHJlZj0iI3J0LTAiLz48L2c+CjxnIHRyYW5zZm9ybT0idHJhbnNsYXRlKDEzNTgsOTcpIj48dXNlIHhsaW5rOmhyZWY9IiNyZWN0LTAiLz48L2c+CjxnIHRyYW5zZm9ybT0idHJhbnNsYXRlKDE2NDksOTcpIj48dXNlIHhsaW5rOmhyZWY9IiNydC0wIi8+PC9nPgo8ZyB0cmFuc2Zvcm09InRyYW5zbGF0ZSgxNzQ2LDk3KSI+PHVzZSB4bGluazpocmVmPSIjcmVjdC0wIi8+PC9nPgo8ZyB0cmFuc2Zvcm09InRyYW5zbGF0ZSgxODQzLDk3KSI+PHVzZSB4bGluazpocmVmPSIjcmVjdC0wIi8+PC9nPgo8ZyB0cmFuc2Zvcm09InRyYW5zbGF0ZSgxOTQwLDk3KSI+PHVzZSB4bGluazpocmVmPSIjcmVjdC0wIi8+PC9nPgo8ZyB0cmFuc2Zvcm09InRyYW5zbGF0ZSgyMDM3LDk3KSI+PHVzZSB4bGluazpocmVmPSIjcmVjdC0wIi8+PC9nPgo8ZyB0cmFuc2Zvcm09InRyYW5zbGF0ZSgyMTM0LDk3KSI+PHVzZSB4bGluazpocmVmPSIjbC0wIi8+PC9nPgo8ZyB0cmFuc2Zvcm09InRyYW5zbGF0ZSgyMzI4LDk3KSI+PHVzZSB4bGluazpocmVmPSIjci0wIi8+PC9nPgo8ZyB0cmFuc2Zvcm09InRyYW5zbGF0ZSgyNDI1LDk3KSI+PHVzZSB4bGluazpocmVmPSIjbGItMCIvPjwvZz4KPGcgdHJhbnNmb3JtPSJ0cmFuc2xhdGUoMjcxNiw5NykiPjx1c2UgeGxpbms6aHJlZj0iI2ItMCIvPjwvZz4KPGcgdHJhbnNmb3JtPSJ0cmFuc2xhdGUoNzc2LDE5NCkiPjx1c2UgeGxpbms6aHJlZj0iI2ItMCIvPjwvZz4KPGcgdHJhbnNmb3JtPSJ0cmFuc2xhdGUoMTA2NywxOTQpIj48dXNlIHhsaW5rOmhyZWY9IiNyYi0wIi8+PC9nPgo8ZyB0cmFuc2Zvcm09InRyYW5zbGF0ZSgxMTY0LDE5NCkiPjx1c2UgeGxpbms6aHJlZj0iI2wtMCIvPjwvZz4KPGcgdHJhbnNmb3JtPSJ0cmFuc2xhdGUoMTM1OCwxOTQpIj48dXNlIHhsaW5rOmhyZWY9IiNyZWN0LTAiLz48L2c+CjxnIHRyYW5zZm9ybT0idHJhbnNsYXRlKDE0NTUsMTk0KSI+PHVzZSB4bGluazpocmVmPSIjbC0wIi8+PC9nPgo8ZyB0cmFuc2Zvcm09InRyYW5zbGF0ZSgxODQzLDE5NCkiPjx1c2UgeGxpbms6aHJlZj0iI3QtMCIvPjwvZz4KPGcgdHJhbnNmb3JtPSJ0cmFuc2xhdGUoMjAzNywxOTQpIj48dXNlIHhsaW5rOmhyZWY9IiNyZWN0LTAiLz48L2c+CjxnIHRyYW5zZm9ybT0idHJhbnNsYXRlKDI0MjUsMTk0KSI+PHVzZSB4bGluazpocmVmPSIjcmVjdC0wIi8+PC9nPgo8ZyB0cmFuc2Zvcm09InRyYW5zbGF0ZSgyNTIyLDE5NCkiPjx1c2UgeGxpbms6aHJlZj0iI2wtMCIvPjwvZz4KPGcgdHJhbnNmb3JtPSJ0cmFuc2xhdGUoMjcxNiwxOTQpIj48dXNlIHhsaW5rOmhyZWY9IiNyZWN0LTAiLz48L2c+CjxnIHRyYW5zZm9ybT0idHJhbnNsYXRlKDc3NiwyOTEpIj48dXNlIHhsaW5rOmhyZWY9IiNydC0wIi8+PC9nPgo8ZyB0cmFuc2Zvcm09InRyYW5zbGF0ZSg4NzMsMjkxKSI+PHVzZSB4bGluazpocmVmPSIjbGItMCIvPjwvZz4KPGcgdHJhbnNmb3JtPSJ0cmFuc2xhdGUoOTcwLDI5MSkiPjx1c2UgeGxpbms6aHJlZj0iI25fcmItMCIvPjwvZz4KPGcgdHJhbnNmb3JtPSJ0cmFuc2xhdGUoMTA2NywyOTEpIj48dXNlIHhsaW5rOmhyZWY9IiNyZWN0LTAiLz48L2c+CjxnIHRyYW5zZm9ybT0idHJhbnNsYXRlKDEyNjEsMjkxKSI+PHVzZSB4bGluazpocmVmPSIjcmItMCIvPjwvZz4KPGcgdHJhbnNmb3JtPSJ0cmFuc2xhdGUoMTM1OCwyOTEpIj48dXNlIHhsaW5rOmhyZWY9IiNyZWN0LTAiLz48L2c+CjxnIHRyYW5zZm9ybT0idHJhbnNsYXRlKDE1NTIsMjkxKSI+PHVzZSB4bGluazpocmVmPSIjci0wIi8+PC9nPgo8ZyB0cmFuc2Zvcm09InRyYW5zbGF0ZSgxNjQ5LDI5MSkiPjx1c2UgeGxpbms6aHJlZj0iI3JlY3QtMCIvPjwvZz4KPGcgdHJhbnNmb3JtPSJ0cmFuc2xhdGUoMTc0NiwyOTEpIj48dXNlIHhsaW5rOmhyZWY9IiNsYi0wIi8+PC9nPgo8ZyB0cmFuc2Zvcm09InRyYW5zbGF0ZSgxOTQwLDI5MSkiPjx1c2UgeGxpbms6aHJlZj0iI3JiLTAiLz48L2c+CjxnIHRyYW5zZm9ybT0idHJhbnNsYXRlKDIwMzcsMjkxKSI+PHVzZSB4bGluazpocmVmPSIjcmVjdC0wIi8+PC9nPgo8ZyB0cmFuc2Zvcm09InRyYW5zbGF0ZSgyMTM0LDI5MSkiPjx1c2UgeGxpbms6aHJlZj0iI2xiLTAiLz48L2c+CjxnIHRyYW5zZm9ybT0idHJhbnNsYXRlKDI0MjUsMjkxKSI+PHVzZSB4bGluazpocmVmPSIjdC0wIi8+PC9nPgo8ZyB0cmFuc2Zvcm09InRyYW5zbGF0ZSgyNzE2LDI5MSkiPjx1c2UgeGxpbms6aHJlZj0iI3QtMCIvPjwvZz4KPGcgdHJhbnNmb3JtPSJ0cmFuc2xhdGUoODczLDM4OCkiPjx1c2UgeGxpbms6aHJlZj0iI3J0LTAiLz48L2c+CjxnIHRyYW5zZm9ybT0idHJhbnNsYXRlKDk3MCwzODgpIj48dXNlIHhsaW5rOmhyZWY9IiNyZWN0LTAiLz48L2c+CjxnIHRyYW5zZm9ybT0idHJhbnNsYXRlKDEwNjcsMzg4KSI+PHVzZSB4bGluazpocmVmPSIjcmVjdC0wIi8+PC9nPgo8ZyB0cmFuc2Zvcm09InRyYW5zbGF0ZSgxMjYxLDM4OCkiPjx1c2UgeGxpbms6aHJlZj0iI3JlY3QtMCIvPjwvZz4KPGcgdHJhbnNmb3JtPSJ0cmFuc2xhdGUoMTM1OCwzODgpIj48dXNlIHhsaW5rOmhyZWY9IiNsdC0wIi8+PC9nPgo8ZyB0cmFuc2Zvcm09InRyYW5zbGF0ZSgxNzQ2LDM4OCkiPjx1c2UgeGxpbms6aHJlZj0iI3QtMCIvPjwvZz4KPGcgdHJhbnNmb3JtPSJ0cmFuc2xhdGUoMTk0MCwzODgpIj48dXNlIHhsaW5rOmhyZWY9IiNydC0wIi8+PC9nPgo8ZyB0cmFuc2Zvcm09InRyYW5zbGF0ZSgyMDM3LDM4OCkiPjx1c2UgeGxpbms6aHJlZj0iI3JlY3QtMCIvPjwvZz4KPGcgdHJhbnNmb3JtPSJ0cmFuc2xhdGUoMjEzNCwzODgpIj48dXNlIHhsaW5rOmhyZWY9IiNsdC0wIi8+PC9nPgo8ZyB0cmFuc2Zvcm09InRyYW5zbGF0ZSgyMjMxLDM4OCkiPjx1c2UgeGxpbms6aHJlZj0iI25fcmItMCIvPjwvZz4KPGcgdHJhbnNmb3JtPSJ0cmFuc2xhdGUoMjMyOCwzODgpIj48dXNlIHhsaW5rOmhyZWY9IiNiLTAiLz48L2c+CjxnIHRyYW5zZm9ybT0idHJhbnNsYXRlKDI1MjIsMzg4KSI+PHVzZSB4bGluazpocmVmPSIjZW1wdHktMCIvPjwvZz4KPGcgdHJhbnNmb3JtPSJ0cmFuc2xhdGUoOTcwLDQ4NSkiPjx1c2UgeGxpbms6aHJlZj0iI3JlY3QtMCIvPjwvZz4KPGcgdHJhbnNmb3JtPSJ0cmFuc2xhdGUoMTA2Nyw0ODUpIj48dXNlIHhsaW5rOmhyZWY9IiNsdC0wIi8+PC9nPgo8ZyB0cmFuc2Zvcm09InRyYW5zbGF0ZSgxMjYxLDQ4NSkiPjx1c2UgeGxpbms6aHJlZj0iI3QtMCIvPjwvZz4KPGcgdHJhbnNmb3JtPSJ0cmFuc2xhdGUoMTQ1NSw0ODUpIj48dXNlIHhsaW5rOmhyZWY9IiNlbXB0eS0wIi8+PC9nPgo8ZyB0cmFuc2Zvcm09InRyYW5zbGF0ZSgxNjQ5LDQ4NSkiPjx1c2UgeGxpbms6aHJlZj0iI2VtcHR5LTAiLz48L2c+CjxnIHRyYW5zZm9ybT0idHJhbnNsYXRlKDE4NDMsNDg1KSI+PHVzZSB4bGluazpocmVmPSIjZW1wdHktMCIvPjwvZz4KPGcgdHJhbnNmb3JtPSJ0cmFuc2xhdGUoMjAzNyw0ODUpIj48dXNlIHhsaW5rOmhyZWY9IiN0LTAiLz48L2c+CjxnIHRyYW5zZm9ybT0idHJhbnNsYXRlKDIyMzEsNDg1KSI+PHVzZSB4bGluazpocmVmPSIjci0wIi8+PC9nPgo8ZyB0cmFuc2Zvcm09InRyYW5zbGF0ZSgyMzI4LDQ4NSkiPjx1c2UgeGxpbms6aHJlZj0iI3JlY3QtMCIvPjwvZz4KPGcgdHJhbnNmb3JtPSJ0cmFuc2xhdGUoNzc2LDU4MikiPjx1c2UgeGxpbms6aHJlZj0iI2VtcHR5LTAiLz48L2c+CjxnIHRyYW5zZm9ybT0idHJhbnNsYXRlKDk3MCw1ODIpIj48dXNlIHhsaW5rOmhyZWY9IiN0LTAiLz48L2c+CjxnIHRyYW5zZm9ybT0idHJhbnNsYXRlKDExNjQsNTgyKSI+PHVzZSB4bGluazpocmVmPSIjZW1wdHktMCIvPjwvZz4KPGcgdHJhbnNmb3JtPSJ0cmFuc2xhdGUoMTM1OCw1ODIpIj48dXNlIHhsaW5rOmhyZWY9IiNlbXB0eS0wIi8+PC9nPgo8ZyB0cmFuc2Zvcm09InRyYW5zbGF0ZSgxNDU1LDU4MikiPjx1c2UgeGxpbms6aHJlZj0iI25fcmItMCIvPjwvZz4KPGcgdHJhbnNmb3JtPSJ0cmFuc2xhdGUoMTU1Miw1ODIpIj48dXNlIHhsaW5rOmhyZWY9IiNiLTAiLz48L2c+CjxnIHRyYW5zZm9ybT0idHJhbnNsYXRlKDE3NDYsNTgyKSI+PHVzZSB4bGluazpocmVmPSIjZW1wdHktMCIvPjwvZz4KPGcgdHJhbnNmb3JtPSJ0cmFuc2xhdGUoMTg0Myw1ODIpIj48dXNlIHhsaW5rOmhyZWY9IiNuX3JiLTAiLz48L2c+CjxnIHRyYW5zZm9ybT0idHJhbnNsYXRlKDE5NDAsNTgyKSI+PHVzZSB4bGluazpocmVmPSIjYi0wIi8+PC9nPgo8ZyB0cmFuc2Zvcm09InRyYW5zbGF0ZSgyMDM3LDU4MikiPjx1c2UgeGxpbms6aHJlZj0iI25fcmItMCIvPjwvZz4KPGcgdHJhbnNmb3JtPSJ0cmFuc2xhdGUoMjEzNCw1ODIpIj48dXNlIHhsaW5rOmhyZWY9IiNiLTAiLz48L2c+CjxnIHRyYW5zZm9ybT0idHJhbnNsYXRlKDIyMzEsNTgyKSI+PHVzZSB4bGluazpocmVmPSIjbl9yYi0wIi8+PC9nPgo8ZyB0cmFuc2Zvcm09InRyYW5zbGF0ZSgyMzI4LDU4MikiPjx1c2UgeGxpbms6aHJlZj0iI3JlY3QtMCIvPjwvZz4KPGcgdHJhbnNmb3JtPSJ0cmFuc2xhdGUoMjUyMiw1ODIpIj48dXNlIHhsaW5rOmhyZWY9IiNlbXB0eS0wIi8+PC9nPgo8ZyB0cmFuc2Zvcm09InRyYW5zbGF0ZSgyNjE5LDU4MikiPjx1c2UgeGxpbms6aHJlZj0iI25fcmItMCIvPjwvZz4KPGcgdHJhbnNmb3JtPSJ0cmFuc2xhdGUoMjcxNiw1ODIpIj48dXNlIHhsaW5rOmhyZWY9IiNiLTAiLz48L2c+CjxnIHRyYW5zZm9ybT0idHJhbnNsYXRlKDg3Myw2NzkpIj48dXNlIHhsaW5rOmhyZWY9IiNiLTAiLz48L2c+CjxnIHRyYW5zZm9ybT0idHJhbnNsYXRlKDEwNjcsNjc5KSI+PHVzZSB4bGluazpocmVmPSIjYi0wIi8+PC9nPgo8ZyB0cmFuc2Zvcm09InRyYW5zbGF0ZSgxMjYxLDY3OSkiPjx1c2UgeGxpbms6aHJlZj0iI2VtcHR5LTAiLz48L2c+CjxnIHRyYW5zZm9ybT0idHJhbnNsYXRlKDE0NTUsNjc5KSI+PHVzZSB4bGluazpocmVmPSIjcmItMCIvPjwvZz4KPGcgdHJhbnNmb3JtPSJ0cmFuc2xhdGUoMTU1Miw2NzkpIj48dXNlIHhsaW5rOmhyZWY9IiNyZWN0LTAiLz48L2c+CjxnIHRyYW5zZm9ybT0idHJhbnNsYXRlKDE2NDksNjc5KSI+PHVzZSB4bGluazpocmVmPSIjbC0wIi8+PC9nPgo8ZyB0cmFuc2Zvcm09InRyYW5zbGF0ZSgxODQzLDY3OSkiPjx1c2UgeGxpbms6aHJlZj0iI3ItMCIvPjwvZz4KPGcgdHJhbnNmb3JtPSJ0cmFuc2xhdGUoMTk0MCw2NzkpIj48dXNlIHhsaW5rOmhyZWY9IiNyZWN0LTAiLz48L2c+CjxnIHRyYW5zZm9ybT0idHJhbnNsYXRlKDIwMzcsNjc5KSI+PHVzZSB4bGluazpocmVmPSIjcmVjdC0wIi8+PC9nPgo8ZyB0cmFuc2Zvcm09InRyYW5zbGF0ZSgyMTM0LDY3OSkiPjx1c2UgeGxpbms6aHJlZj0iI3JlY3QtMCIvPjwvZz4KPGcgdHJhbnNmb3JtPSJ0cmFuc2xhdGUoMjIzMSw2NzkpIj48dXNlIHhsaW5rOmhyZWY9IiNyZWN0LTAiLz48L2c+CjxnIHRyYW5zZm9ybT0idHJhbnNsYXRlKDIzMjgsNjc5KSI+PHVzZSB4bGluazpocmVmPSIjcmVjdC0wIi8+PC9nPgo8ZyB0cmFuc2Zvcm09InRyYW5zbGF0ZSgyNDI1LDY3OSkiPjx1c2UgeGxpbms6aHJlZj0iI2xiLTAiLz48L2c+CjxnIHRyYW5zZm9ybT0idHJhbnNsYXRlKDI2MTksNjc5KSI+PHVzZSB4bGluazpocmVmPSIjci0wIi8+PC9nPgo8ZyB0cmFuc2Zvcm09InRyYW5zbGF0ZSgyNzE2LDY3OSkiPjx1c2UgeGxpbms6aHJlZj0iI3JlY3QtMCIvPjwvZz4KPGcgdHJhbnNmb3JtPSJ0cmFuc2xhdGUoMjkxLDc3NikiPjx1c2UgeGxpbms6aHJlZj0iI3ItMCIvPjwvZz4KPGcgdHJhbnNmb3JtPSJ0cmFuc2xhdGUoMzg4LDc3NikiPjx1c2UgeGxpbms6aHJlZj0iI2wtMCIvPjwvZz4KPGcgdHJhbnNmb3JtPSJ0cmFuc2xhdGUoNTgyLDc3NikiPjx1c2UgeGxpbms6aHJlZj0iI3ItMCIvPjwvZz4KPGcgdHJhbnNmb3JtPSJ0cmFuc2xhdGUoNjc5LDc3NikiPjx1c2UgeGxpbms6aHJlZj0iI2wtMCIvPjwvZz4KPGcgdHJhbnNmb3JtPSJ0cmFuc2xhdGUoODczLDc3NikiPjx1c2UgeGxpbms6aHJlZj0iI3QtMCIvPjwvZz4KPGcgdHJhbnNmb3JtPSJ0cmFuc2xhdGUoMTA2Nyw3NzYpIj48dXNlIHhsaW5rOmhyZWY9IiNydC0wIi8+PC9nPgo8ZyB0cmFuc2Zvcm09InRyYW5zbGF0ZSgxMTY0LDc3NikiPjx1c2UgeGxpbms6aHJlZj0iI2xiLTAiLz48L2c+CjxnIHRyYW5zZm9ybT0idHJhbnNsYXRlKDE0NTUsNzc2KSI+PHVzZSB4bGluazpocmVmPSIjdC0wIi8+PC9nPgo8ZyB0cmFuc2Zvcm09InRyYW5zbGF0ZSgyMTM0LDc3NikiPjx1c2UgeGxpbms6aHJlZj0iI3JlY3QtMCIvPjwvZz4KPGcgdHJhbnNmb3JtPSJ0cmFuc2xhdGUoMjMyOCw3NzYpIj48dXNlIHhsaW5rOmhyZWY9IiNyZWN0LTAiLz48L2c+CjxnIHRyYW5zZm9ybT0idHJhbnNsYXRlKDI0MjUsNzc2KSI+PHVzZSB4bGluazpocmVmPSIjcmVjdC0wIi8+PC9nPgo8ZyB0cmFuc2Zvcm09InRyYW5zbGF0ZSgyNzE2LDc3NikiPjx1c2UgeGxpbms6aHJlZj0iI3QtMCIvPjwvZz4KPGcgdHJhbnNmb3JtPSJ0cmFuc2xhdGUoMzEwNCw3NzYpIj48dXNlIHhsaW5rOmhyZWY9IiNuX3JiLTAiLz48L2c+CjxnIHRyYW5zZm9ybT0idHJhbnNsYXRlKDMyMDEsNzc2KSI+PHVzZSB4bGluazpocmVmPSIjcmItMCIvPjwvZz4KPGcgdHJhbnNmb3JtPSJ0cmFuc2xhdGUoMzI5OCw3NzYpIj48dXNlIHhsaW5rOmhyZWY9IiNsYi0wIi8+PC9nPgo8ZyB0cmFuc2Zvcm09InRyYW5zbGF0ZSgwLDg3MykiPjx1c2UgeGxpbms6aHJlZj0iI2VtcHR5LTAiLz48L2c+CjxnIHRyYW5zZm9ybT0idHJhbnNsYXRlKDk3LDg3MykiPjx1c2UgeGxpbms6aHJlZj0iI25fcmItMCIvPjwvZz4KPGcgdHJhbnNmb3JtPSJ0cmFuc2xhdGUoMTk0LDg3MykiPjx1c2UgeGxpbms6aHJlZj0iI2ItMCIvPjwvZz4KPGcgdHJhbnNmb3JtPSJ0cmFuc2xhdGUoNDg1LDg3MykiPjx1c2UgeGxpbms6aHJlZj0iI2VtcHR5LTAiLz48L2c+CjxnIHRyYW5zZm9ybT0idHJhbnNsYXRlKDc3Niw4NzMpIj48dXNlIHhsaW5rOmhyZWY9IiNiLTAiLz48L2c+CjxnIHRyYW5zZm9ybT0idHJhbnNsYXRlKDk3MCw4NzMpIj48dXNlIHhsaW5rOmhyZWY9IiNlbXB0eS0wIi8+PC9nPgo8ZyB0cmFuc2Zvcm09InRyYW5zbGF0ZSgxMTY0LDg3MykiPjx1c2UgeGxpbms6aHJlZj0iI3JlY3QtMCIvPjwvZz4KPGcgdHJhbnNmb3JtPSJ0cmFuc2xhdGUoMTI2MSw4NzMpIj48dXNlIHhsaW5rOmhyZWY9IiNsYi0wIi8+PC9nPgo8ZyB0cmFuc2Zvcm09InRyYW5zbGF0ZSgxNzQ2LDg3MykiPjx1c2UgeGxpbms6aHJlZj0iI3JiLTAiLz48L2c+CjxnIHRyYW5zZm9ybT0idHJhbnNsYXRlKDE4NDMsODczKSI+PHVzZSB4bGluazpocmVmPSIjcmVjdC0wIi8+PC9nPgo8ZyB0cmFuc2Zvcm09InRyYW5zbGF0ZSgxOTQwLDg3MykiPjx1c2UgeGxpbms6aHJlZj0iI3JlY3QtMCIvPjwvZz4KPGcgdHJhbnNmb3JtPSJ0cmFuc2xhdGUoMjAzNyw4NzMpIj48dXNlIHhsaW5rOmhyZWY9IiNyZWN0LTAiLz48L2c+CjxnIHRyYW5zZm9ybT0idHJhbnNsYXRlKDIxMzQsODczKSI+PHVzZSB4bGluazpocmVmPSIjcmVjdC0wIi8+PC9nPgo8ZyB0cmFuc2Zvcm09InRyYW5zbGF0ZSgyMjMxLDg3MykiPjx1c2UgeGxpbms6aHJlZj0iI3JlY3QtMCIvPjwvZz4KPGcgdHJhbnNmb3JtPSJ0cmFuc2xhdGUoMjMyOCw4NzMpIj48dXNlIHhsaW5rOmhyZWY9IiNyZWN0LTAiLz48L2c+CjxnIHRyYW5zZm9ybT0idHJhbnNsYXRlKDI0MjUsODczKSI+PHVzZSB4bGluazpocmVmPSIjcmVjdC0wIi8+PC9nPgo8ZyB0cmFuc2Zvcm09InRyYW5zbGF0ZSgyODEzLDg3MykiPjx1c2UgeGxpbms6aHJlZj0iI25fcmItMCIvPjwvZz4KPGcgdHJhbnNmb3JtPSJ0cmFuc2xhdGUoMjkxMCw4NzMpIj48dXNlIHhsaW5rOmhyZWY9IiNiLTAiLz48L2c+CjxnIHRyYW5zZm9ybT0idHJhbnNsYXRlKDMxMDQsODczKSI+PHVzZSB4bGluazpocmVmPSIjci0wIi8+PC9nPgo8ZyB0cmFuc2Zvcm09InRyYW5zbGF0ZSgzMjAxLDg3MykiPjx1c2UgeGxpbms6aHJlZj0iI3JlY3QtMCIvPjwvZz4KPGcgdHJhbnNmb3JtPSJ0cmFuc2xhdGUoMzI5OCw4NzMpIj48dXNlIHhsaW5rOmhyZWY9IiNyZWN0LTAiLz48L2c+CjxnIHRyYW5zZm9ybT0idHJhbnNsYXRlKDMzOTUsODczKSI+PHVzZSB4bGluazpocmVmPSIjbGItMCIvPjwvZz4KPGcgdHJhbnNmb3JtPSJ0cmFuc2xhdGUoMCw5NzApIj48dXNlIHhsaW5rOmhyZWY9IiNuX3JiLTAiLz48L2c+CjxnIHRyYW5zZm9ybT0idHJhbnNsYXRlKDk3LDk3MCkiPjx1c2UgeGxpbms6aHJlZj0iI3JiLTAiLz48L2c+CjxnIHRyYW5zZm9ybT0idHJhbnNsYXRlKDE5NCw5NzApIj48dXNlIHhsaW5rOmhyZWY9IiNyZWN0LTAiLz48L2c+CjxnIHRyYW5zZm9ybT0idHJhbnNsYXRlKDM4OCw5NzApIj48dXNlIHhsaW5rOmhyZWY9IiNiLTAiLz48L2c+CjxnIHRyYW5zZm9ybT0idHJhbnNsYXRlKDU4Miw5NzApIj48dXNlIHhsaW5rOmhyZWY9IiNlbXB0eS0wIi8+PC9nPgo8ZyB0cmFuc2Zvcm09InRyYW5zbGF0ZSg3NzYsOTcwKSI+PHVzZSB4bGluazpocmVmPSIjcnQtMCIvPjwvZz4KPGcgdHJhbnNmb3JtPSJ0cmFuc2xhdGUoODczLDk3MCkiPjx1c2UgeGxpbms6aHJlZj0iI2xiLTAiLz48L2c+CjxnIHRyYW5zZm9ybT0idHJhbnNsYXRlKDEwNjcsOTcwKSI+PHVzZSB4bGluazpocmVmPSIjci0wIi8+PC9nPgo8ZyB0cmFuc2Zvcm09InRyYW5zbGF0ZSgxMTY0LDk3MCkiPjx1c2UgeGxpbms6aHJlZj0iI3JlY3QtMCIvPjwvZz4KPGcgdHJhbnNmb3JtPSJ0cmFuc2xhdGUoMTI2MSw5NzApIj48dXNlIHhsaW5rOmhyZWY9IiNyZWN0LTAiLz48L2c+CjxnIHRyYW5zZm9ybT0idHJhbnNsYXRlKDE0NTUsOTcwKSI+PHVzZSB4bGluazpocmVmPSIjcmItMCIvPjwvZz4KPGcgdHJhbnNmb3JtPSJ0cmFuc2xhdGUoMTU1Miw5NzApIj48dXNlIHhsaW5rOmhyZWY9IiNsYi0wIi8+PC9nPgo8ZyB0cmFuc2Zvcm09InRyYW5zbGF0ZSgxNzQ2LDk3MCkiPjx1c2UgeGxpbms6aHJlZj0iI3QtMCIvPjwvZz4KPGcgdHJhbnNmb3JtPSJ0cmFuc2xhdGUoMTk0MCw5NzApIj48dXNlIHhsaW5rOmhyZWY9IiN0LTAiLz48L2c+CjxnIHRyYW5zZm9ybT0idHJhbnNsYXRlKDIyMzEsOTcwKSI+PHVzZSB4bGluazpocmVmPSIjcmVjdC0wIi8+PC9nPgo8ZyB0cmFuc2Zvcm09InRyYW5zbGF0ZSgyMzI4LDk3MCkiPjx1c2UgeGxpbms6aHJlZj0iI3JlY3QtMCIvPjwvZz4KPGcgdHJhbnNmb3JtPSJ0cmFuc2xhdGUoMjQyNSw5NzApIj48dXNlIHhsaW5rOmhyZWY9IiNsdC0wIi8+PC9nPgo8ZyB0cmFuc2Zvcm09InRyYW5zbGF0ZSgyODEzLDk3MCkiPjx1c2UgeGxpbms6aHJlZj0iI3JiLTAiLz48L2c+CjxnIHRyYW5zZm9ybT0idHJhbnNsYXRlKDI5MTAsOTcwKSI+PHVzZSB4bGluazpocmVmPSIjcmVjdC0wIi8+PC9nPgo8ZyB0cmFuc2Zvcm09InRyYW5zbGF0ZSgzMzk1LDk3MCkiPjx1c2UgeGxpbms6aHJlZj0iI3JlY3QtMCIvPjwvZz4KPGcgdHJhbnNmb3JtPSJ0cmFuc2xhdGUoMzQ5Miw5NzApIj48dXNlIHhsaW5rOmhyZWY9IiNsLTAiLz48L2c+CjxnIHRyYW5zZm9ybT0idHJhbnNsYXRlKDAsMTA2NykiPjx1c2UgeGxpbms6aHJlZj0iI3ItMCIvPjwvZz4KPGcgdHJhbnNmb3JtPSJ0cmFuc2xhdGUoOTcsMTA2NykiPjx1c2UgeGxpbms6aHJlZj0iI3JlY3QtMCIvPjwvZz4KPGcgdHJhbnNmb3JtPSJ0cmFuc2xhdGUoMTk0LDEwNjcpIj48dXNlIHhsaW5rOmhyZWY9IiNyZWN0LTAiLz48L2c+CjxnIHRyYW5zZm9ybT0idHJhbnNsYXRlKDM4OCwxMDY3KSI+PHVzZSB4bGluazpocmVmPSIjcmVjdC0wIi8+PC9nPgo8ZyB0cmFuc2Zvcm09InRyYW5zbGF0ZSg0ODUsMTA2NykiPjx1c2UgeGxpbms6aHJlZj0iI2xiLTAiLz48L2c+CjxnIHRyYW5zZm9ybT0idHJhbnNsYXRlKDY3OSwxMDY3KSI+PHVzZSB4bGluazpocmVmPSIjZW1wdHktMCIvPjwvZz4KPGcgdHJhbnNmb3JtPSJ0cmFuc2xhdGUoODczLDEwNjcpIj48dXNlIHhsaW5rOmhyZWY9IiNyZWN0LTAiLz48L2c+CjxnIHRyYW5zZm9ybT0idHJhbnNsYXRlKDEyNjEsMTA2NykiPjx1c2UgeGxpbms6aHJlZj0iI3JlY3QtMCIvPjwvZz4KPGcgdHJhbnNmb3JtPSJ0cmFuc2xhdGUoMTQ1NSwxMDY3KSI+PHVzZSB4bGluazpocmVmPSIjcnQtMCIvPjwvZz4KPGcgdHJhbnNmb3JtPSJ0cmFuc2xhdGUoMTU1MiwxMDY3KSI+PHVzZSB4bGluazpocmVmPSIjbHQtMCIvPjwvZz4KPGcgdHJhbnNmb3JtPSJ0cmFuc2xhdGUoMTg0MywxMDY3KSI+PHVzZSB4bGluazpocmVmPSIjYi0wIi8+PC9nPgo8ZyB0cmFuc2Zvcm09InRyYW5zbGF0ZSgyMDM3LDEwNjcpIj48dXNlIHhsaW5rOmhyZWY9IiNyYi0wIi8+PC9nPgo8ZyB0cmFuc2Zvcm09InRyYW5zbGF0ZSgyMTM0LDEwNjcpIj48dXNlIHhsaW5rOmhyZWY9IiNyZWN0LTAiLz48L2c+CjxnIHRyYW5zZm9ybT0idHJhbnNsYXRlKDIyMzEsMTA2NykiPjx1c2UgeGxpbms6aHJlZj0iI3JlY3QtMCIvPjwvZz4KPGcgdHJhbnNmb3JtPSJ0cmFuc2xhdGUoMjUyMiwxMDY3KSI+PHVzZSB4bGluazpocmVmPSIjci0wIi8+PC9nPgo8ZyB0cmFuc2Zvcm09InRyYW5zbGF0ZSgyNjE5LDEwNjcpIj48dXNlIHhsaW5rOmhyZWY9IiNsLTAiLz48L2c+CjxnIHRyYW5zZm9ybT0idHJhbnNsYXRlKDI4MTMsMTA2NykiPjx1c2UgeGxpbms6aHJlZj0iI3J0LTAiLz48L2c+CjxnIHRyYW5zZm9ybT0idHJhbnNsYXRlKDI5MTAsMTA2NykiPjx1c2UgeGxpbms6aHJlZj0iI3JlY3QtMCIvPjwvZz4KPGcgdHJhbnNmb3JtPSJ0cmFuc2xhdGUoMzIwMSwxMDY3KSI+PHVzZSB4bGluazpocmVmPSIjcmItMCIvPjwvZz4KPGcgdHJhbnNmb3JtPSJ0cmFuc2xhdGUoMzI5OCwxMDY3KSI+PHVzZSB4bGluazpocmVmPSIjcmVjdC0wIi8+PC9nPgo8ZyB0cmFuc2Zvcm09InRyYW5zbGF0ZSgzMzk1LDEwNjcpIj48dXNlIHhsaW5rOmhyZWY9IiNyZWN0LTAiLz48L2c+CjxnIHRyYW5zZm9ybT0idHJhbnNsYXRlKDk3LDExNjQpIj48dXNlIHhsaW5rOmhyZWY9IiNyZWN0LTAiLz48L2c+CjxnIHRyYW5zZm9ybT0idHJhbnNsYXRlKDE5NCwxMTY0KSI+PHVzZSB4bGluazpocmVmPSIjbHQtMCIvPjwvZz4KPGcgdHJhbnNmb3JtPSJ0cmFuc2xhdGUoMzg4LDExNjQpIj48dXNlIHhsaW5rOmhyZWY9IiNydC0wIi8+PC9nPgo8ZyB0cmFuc2Zvcm09InRyYW5zbGF0ZSg0ODUsMTE2NCkiPjx1c2UgeGxpbms6aHJlZj0iI3JlY3QtMCIvPjwvZz4KPGcgdHJhbnNmb3JtPSJ0cmFuc2xhdGUoNTgyLDExNjQpIj48dXNlIHhsaW5rOmhyZWY9IiNsLTAiLz48L2c+CjxnIHRyYW5zZm9ybT0idHJhbnNsYXRlKDg3MywxMTY0KSI+PHVzZSB4bGluazpocmVmPSIjcmVjdC0wIi8+PC9nPgo8ZyB0cmFuc2Zvcm09InRyYW5zbGF0ZSgxMTY0LDExNjQpIj48dXNlIHhsaW5rOmhyZWY9IiNyLTAiLz48L2c+CjxnIHRyYW5zZm9ybT0idHJhbnNsYXRlKDEyNjEsMTE2NCkiPjx1c2UgeGxpbms6aHJlZj0iI2x0LTAiLz48L2c+CjxnIHRyYW5zZm9ybT0idHJhbnNsYXRlKDE1NTIsMTE2NCkiPjx1c2UgeGxpbms6aHJlZj0iI25fcmItMCIvPjwvZz4KPGcgdHJhbnNmb3JtPSJ0cmFuc2xhdGUoMTY0OSwxMTY0KSI+PHVzZSB4bGluazpocmVmPSIjYi0wIi8+PC9nPgo8ZyB0cmFuc2Zvcm09InRyYW5zbGF0ZSgxNzQ2LDExNjQpIj48dXNlIHhsaW5rOmhyZWY9IiNuX3JiLTAiLz48L2c+CjxnIHRyYW5zZm9ybT0idHJhbnNsYXRlKDE4NDMsMTE2NCkiPjx1c2UgeGxpbms6aHJlZj0iI3JlY3QtMCIvPjwvZz4KPGcgdHJhbnNmb3JtPSJ0cmFuc2xhdGUoMjAzNywxMTY0KSI+PHVzZSB4bGluazpocmVmPSIjcmVjdC0wIi8+PC9nPgo8ZyB0cmFuc2Zvcm09InRyYW5zbGF0ZSgyMjMxLDExNjQpIj48dXNlIHhsaW5rOmhyZWY9IiN0LTAiLz48L2c+CjxnIHRyYW5zZm9ybT0idHJhbnNsYXRlKDI5MTAsMTE2NCkiPjx1c2UgeGxpbms6aHJlZj0iI3QtMCIvPjwvZz4KPGcgdHJhbnNmb3JtPSJ0cmFuc2xhdGUoMzIwMSwxMTY0KSI+PHVzZSB4bGluazpocmVmPSIjdC0wIi8+PC9nPgo8ZyB0cmFuc2Zvcm09InRyYW5zbGF0ZSgzMzk1LDExNjQpIj48dXNlIHhsaW5rOmhyZWY9IiN0LTAiLz48L2c+CjxnIHRyYW5zZm9ybT0idHJhbnNsYXRlKDAsMTI2MSkiPjx1c2UgeGxpbms6aHJlZj0iI3ItMCIvPjwvZz4KPGcgdHJhbnNmb3JtPSJ0cmFuc2xhdGUoOTcsMTI2MSkiPjx1c2UgeGxpbms6aHJlZj0iI2x0LTAiLz48L2c+CjxnIHRyYW5zZm9ybT0idHJhbnNsYXRlKDQ4NSwxMjYxKSI+PHVzZSB4bGluazpocmVmPSIjdC0wIi8+PC9nPgo8ZyB0cmFuc2Zvcm09InRyYW5zbGF0ZSg2NzksMTI2MSkiPjx1c2UgeGxpbms6aHJlZj0iI2VtcHR5LTAiLz48L2c+CjxnIHRyYW5zZm9ybT0idHJhbnNsYXRlKDg3MywxMjYxKSI+PHVzZSB4bGluazpocmVmPSIjcmVjdC0wIi8+PC9nPgo8ZyB0cmFuc2Zvcm09InRyYW5zbGF0ZSg5NzAsMTI2MSkiPjx1c2UgeGxpbms6aHJlZj0iI2xiLTAiLz48L2c+CjxnIHRyYW5zZm9ybT0idHJhbnNsYXRlKDEzNTgsMTI2MSkiPjx1c2UgeGxpbms6aHJlZj0iI3ItMCIvPjwvZz4KPGcgdHJhbnNmb3JtPSJ0cmFuc2xhdGUoMTQ1NSwxMjYxKSI+PHVzZSB4bGluazpocmVmPSIjcmVjdC0wIi8+PC9nPgo8ZyB0cmFuc2Zvcm09InRyYW5zbGF0ZSgxNTUyLDEyNjEpIj48dXNlIHhsaW5rOmhyZWY9IiNyZWN0LTAiLz48L2c+CjxnIHRyYW5zZm9ybT0idHJhbnNsYXRlKDE2NDksMTI2MSkiPjx1c2UgeGxpbms6aHJlZj0iI3JlY3QtMCIvPjwvZz4KPGcgdHJhbnNmb3JtPSJ0cmFuc2xhdGUoMTc0NiwxMjYxKSI+PHVzZSB4bGluazpocmVmPSIjcmVjdC0wIi8+PC9nPgo8ZyB0cmFuc2Zvcm09InRyYW5zbGF0ZSgxODQzLDEyNjEpIj48dXNlIHhsaW5rOmhyZWY9IiNsdC0wIi8+PC9nPgo8ZyB0cmFuc2Zvcm09InRyYW5zbGF0ZSgyMDM3LDEyNjEpIj48dXNlIHhsaW5rOmhyZWY9IiN0LTAiLz48L2c+CjxnIHRyYW5zZm9ybT0idHJhbnNsYXRlKDIzMjgsMTI2MSkiPjx1c2UgeGxpbms6aHJlZj0iI3ItMCIvPjwvZz4KPGcgdHJhbnNmb3JtPSJ0cmFuc2xhdGUoMjQyNSwxMjYxKSI+PHVzZSB4bGluazpocmVmPSIjcmVjdC0wIi8+PC9nPgo8ZyB0cmFuc2Zvcm09InRyYW5zbGF0ZSgyNTIyLDEyNjEpIj48dXNlIHhsaW5rOmhyZWY9IiNyZWN0LTAiLz48L2c+CjxnIHRyYW5zZm9ybT0idHJhbnNsYXRlKDI2MTksMTI2MSkiPjx1c2UgeGxpbms6aHJlZj0iI2xiLTAiLz48L2c+CjxnIHRyYW5zZm9ybT0idHJhbnNsYXRlKDI3MTYsMTI2MSkiPjx1c2UgeGxpbms6aHJlZj0iI25fcmItMCIvPjwvZz4KPGcgdHJhbnNmb3JtPSJ0cmFuc2xhdGUoMjgxMywxMjYxKSI+PHVzZSB4bGluazpocmVmPSIjYi0wIi8+PC9nPgo8ZyB0cmFuc2Zvcm09InRyYW5zbGF0ZSgzMTA0LDEyNjEpIj48dXNlIHhsaW5rOmhyZWY9IiNlbXB0eS0wIi8+PC9nPgo8ZyB0cmFuc2Zvcm09InRyYW5zbGF0ZSgzMjAxLDEyNjEpIj48dXNlIHhsaW5rOmhyZWY9IiNuX3JiLTAiLz48L2c+CjxnIHRyYW5zZm9ybT0idHJhbnNsYXRlKDMyOTgsMTI2MSkiPjx1c2UgeGxpbms6aHJlZj0iI2ItMCIvPjwvZz4KPGcgdHJhbnNmb3JtPSJ0cmFuc2xhdGUoMTk0LDEzNTgpIj48dXNlIHhsaW5rOmhyZWY9IiNyLTAiLz48L2c+CjxnIHRyYW5zZm9ybT0idHJhbnNsYXRlKDI5MSwxMzU4KSI+PHVzZSB4bGluazpocmVmPSIjbC0wIi8+PC9nPgo8ZyB0cmFuc2Zvcm09InRyYW5zbGF0ZSg1ODIsMTM1OCkiPjx1c2UgeGxpbms6aHJlZj0iI2VtcHR5LTAiLz48L2c+CjxnIHRyYW5zZm9ybT0idHJhbnNsYXRlKDg3MywxMzU4KSI+PHVzZSB4bGluazpocmVmPSIjcnQtMCIvPjwvZz4KPGcgdHJhbnNmb3JtPSJ0cmFuc2xhdGUoOTcwLDEzNTgpIj48dXNlIHhsaW5rOmhyZWY9IiNyZWN0LTAiLz48L2c+CjxnIHRyYW5zZm9ybT0idHJhbnNsYXRlKDEwNjcsMTM1OCkiPjx1c2UgeGxpbms6aHJlZj0iI2wtMCIvPjwvZz4KPGcgdHJhbnNmb3JtPSJ0cmFuc2xhdGUoMTI2MSwxMzU4KSI+PHVzZSB4bGluazpocmVmPSIjZW1wdHktMCIvPjwvZz4KPGcgdHJhbnNmb3JtPSJ0cmFuc2xhdGUoMTc0NiwxMzU4KSI+PHVzZSB4bGluazpocmVmPSIjcmVjdC0wIi8+PC9nPgo8ZyB0cmFuc2Zvcm09InRyYW5zbGF0ZSgyMjMxLDEzNTgpIj48dXNlIHhsaW5rOmhyZWY9IiNlbXB0eS0wIi8+PC9nPgo8ZyB0cmFuc2Zvcm09InRyYW5zbGF0ZSgyNjE5LDEzNTgpIj48dXNlIHhsaW5rOmhyZWY9IiNydC0wIi8+PC9nPgo8ZyB0cmFuc2Zvcm09InRyYW5zbGF0ZSgyNzE2LDEzNTgpIj48dXNlIHhsaW5rOmhyZWY9IiNyZWN0LTAiLz48L2c+CjxnIHRyYW5zZm9ybT0idHJhbnNsYXRlKDI4MTMsMTM1OCkiPjx1c2UgeGxpbms6aHJlZj0iI3JlY3QtMCIvPjwvZz4KPGcgdHJhbnNmb3JtPSJ0cmFuc2xhdGUoMjkxMCwxMzU4KSI+PHVzZSB4bGluazpocmVmPSIjbGItMCIvPjwvZz4KPGcgdHJhbnNmb3JtPSJ0cmFuc2xhdGUoMzEwNCwxMzU4KSI+PHVzZSB4bGluazpocmVmPSIjbl9yYi0wIi8+PC9nPgo8ZyB0cmFuc2Zvcm09InRyYW5zbGF0ZSgzMjAxLDEzNTgpIj48dXNlIHhsaW5rOmhyZWY9IiNyYi0wIi8+PC9nPgo8ZyB0cmFuc2Zvcm09InRyYW5zbGF0ZSgzMjk4LDEzNTgpIj48dXNlIHhsaW5rOmhyZWY9IiNyZWN0LTAiLz48L2c+CjxnIHRyYW5zZm9ybT0idHJhbnNsYXRlKDMzOTUsMTM1OCkiPjx1c2UgeGxpbms6aHJlZj0iI3JlY3QtMCIvPjwvZz4KPGcgdHJhbnNmb3JtPSJ0cmFuc2xhdGUoMzQ5MiwxMzU4KSI+PHVzZSB4bGluazpocmVmPSIjbC0wIi8+PC9nPgo8ZyB0cmFuc2Zvcm09InRyYW5zbGF0ZSg5NywxNDU1KSI+PHVzZSB4bGluazpocmVmPSIjZW1wdHktMCIvPjwvZz4KPGcgdHJhbnNmb3JtPSJ0cmFuc2xhdGUoMzg4LDE0NTUpIj48dXNlIHhsaW5rOmhyZWY9IiNuX3JiLTAiLz48L2c+CjxnIHRyYW5zZm9ybT0idHJhbnNsYXRlKDQ4NSwxNDU1KSI+PHVzZSB4bGluazpocmVmPSIjYi0wIi8+PC9nPgo8ZyB0cmFuc2Zvcm09InRyYW5zbGF0ZSg3NzYsMTQ1NSkiPjx1c2UgeGxpbms6aHJlZj0iI2VtcHR5LTAiLz48L2c+CjxnIHRyYW5zZm9ybT0idHJhbnNsYXRlKDk3MCwxNDU1KSI+PHVzZSB4bGluazpocmVmPSIjcmVjdC0wIi8+PC9nPgo8ZyB0cmFuc2Zvcm09InRyYW5zbGF0ZSgxNzQ2LDE0NTUpIj48dXNlIHhsaW5rOmhyZWY9IiNydC0wIi8+PC9nPgo8ZyB0cmFuc2Zvcm09InRyYW5zbGF0ZSgxODQzLDE0NTUpIj48dXNlIHhsaW5rOmhyZWY9IiNsLTAiLz48L2c+CjxnIHRyYW5zZm9ybT0idHJhbnNsYXRlKDIwMzcsMTQ1NSkiPjx1c2UgeGxpbms6aHJlZj0iI2VtcHR5LTAiLz48L2c+CjxnIHRyYW5zZm9ybT0idHJhbnNsYXRlKDI4MTMsMTQ1NSkiPjx1c2UgeGxpbms6aHJlZj0iI3JlY3QtMCIvPjwvZz4KPGcgdHJhbnNmb3JtPSJ0cmFuc2xhdGUoMjkxMCwxNDU1KSI+PHVzZSB4bGluazpocmVmPSIjcmVjdC0wIi8+PC9nPgo8ZyB0cmFuc2Zvcm09InRyYW5zbGF0ZSgzMTA0LDE0NTUpIj48dXNlIHhsaW5rOmhyZWY9IiNyLTAiLz48L2c+CjxnIHRyYW5zZm9ybT0idHJhbnNsYXRlKDMyMDEsMTQ1NSkiPjx1c2UgeGxpbms6aHJlZj0iI3JlY3QtMCIvPjwvZz4KPGcgdHJhbnNmb3JtPSJ0cmFuc2xhdGUoMzI5OCwxNDU1KSI+PHVzZSB4bGluazpocmVmPSIjcmVjdC0wIi8+PC9nPgo8ZyB0cmFuc2Zvcm09InRyYW5zbGF0ZSgzMzk1LDE0NTUpIj48dXNlIHhsaW5rOmhyZWY9IiNyZWN0LTAiLz48L2c+CjxnIHRyYW5zZm9ybT0idHJhbnNsYXRlKDk3LDE1NTIpIj48dXNlIHhsaW5rOmhyZWY9IiNuX3JiLTAiLz48L2c+CjxnIHRyYW5zZm9ybT0idHJhbnNsYXRlKDE5NCwxNTUyKSI+PHVzZSB4bGluazpocmVmPSIjYi0wIi8+PC9nPgo8ZyB0cmFuc2Zvcm09InRyYW5zbGF0ZSgzODgsMTU1MikiPjx1c2UgeGxpbms6aHJlZj0iI3ItMCIvPjwvZz4KPGcgdHJhbnNmb3JtPSJ0cmFuc2xhdGUoNDg1LDE1NTIpIj48dXNlIHhsaW5rOmhyZWY9IiNyZWN0LTAiLz48L2c+CjxnIHRyYW5zZm9ybT0idHJhbnNsYXRlKDU4MiwxNTUyKSI+PHVzZSB4bGluazpocmVmPSIjbC0wIi8+PC9nPgo8ZyB0cmFuc2Zvcm09InRyYW5zbGF0ZSg4NzMsMTU1MikiPjx1c2UgeGxpbms6aHJlZj0iI3ItMCIvPjwvZz4KPGcgdHJhbnNmb3JtPSJ0cmFuc2xhdGUoOTcwLDE1NTIpIj48dXNlIHhsaW5rOmhyZWY9IiNsdC0wIi8+PC9nPgo8ZyB0cmFuc2Zvcm09InRyYW5zbGF0ZSgxMTY0LDE1NTIpIj48dXNlIHhsaW5rOmhyZWY9IiNlbXB0eS0wIi8+PC9nPgo8ZyB0cmFuc2Zvcm09InRyYW5zbGF0ZSgxNTUyLDE1NTIpIj48dXNlIHhsaW5rOmhyZWY9IiNyLTAiLz48L2c+CjxnIHRyYW5zZm9ybT0idHJhbnNsYXRlKDE2NDksMTU1MikiPjx1c2UgeGxpbms6aHJlZj0iI2wtMCIvPjwvZz4KPGcgdHJhbnNmb3JtPSJ0cmFuc2xhdGUoMjIzMSwxNTUyKSI+PHVzZSB4bGluazpocmVmPSIjZW1wdHktMCIvPjwvZz4KPGcgdHJhbnNmb3JtPSJ0cmFuc2xhdGUoMjQyNSwxNTUyKSI+PHVzZSB4bGluazpocmVmPSIjZW1wdHktMCIvPjwvZz4KPGcgdHJhbnNmb3JtPSJ0cmFuc2xhdGUoMjUyMiwxNTUyKSI+PHVzZSB4bGluazpocmVmPSIjbl9yYi0wIi8+PC9nPgo8ZyB0cmFuc2Zvcm09InRyYW5zbGF0ZSgyNjE5LDE1NTIpIj48dXNlIHhsaW5rOmhyZWY9IiNyYi0wIi8+PC9nPgo8ZyB0cmFuc2Zvcm09InRyYW5zbGF0ZSgyNzE2LDE1NTIpIj48dXNlIHhsaW5rOmhyZWY9IiNyZWN0LTAiLz48L2c+CjxnIHRyYW5zZm9ybT0idHJhbnNsYXRlKDI4MTMsMTU1MikiPjx1c2UgeGxpbms6aHJlZj0iI3JlY3QtMCIvPjwvZz4KPGcgdHJhbnNmb3JtPSJ0cmFuc2xhdGUoMjkxMCwxNTUyKSI+PHVzZSB4bGluazpocmVmPSIjcmVjdC0wIi8+PC9nPgo8ZyB0cmFuc2Zvcm09InRyYW5zbGF0ZSgzMDA3LDE1NTIpIj48dXNlIHhsaW5rOmhyZWY9IiNsYi0wIi8+PC9nPgo8ZyB0cmFuc2Zvcm09InRyYW5zbGF0ZSgzMjk4LDE1NTIpIj48dXNlIHhsaW5rOmhyZWY9IiNydC0wIi8+PC9nPgo8ZyB0cmFuc2Zvcm09InRyYW5zbGF0ZSgzMzk1LDE1NTIpIj48dXNlIHhsaW5rOmhyZWY9IiNyZWN0LTAiLz48L2c+CjxnIHRyYW5zZm9ybT0idHJhbnNsYXRlKDM0OTIsMTU1MikiPjx1c2UgeGxpbms6aHJlZj0iI2wtMCIvPjwvZz4KPGcgdHJhbnNmb3JtPSJ0cmFuc2xhdGUoMCwxNjQ5KSI+PHVzZSB4bGluazpocmVmPSIjbl9yYi0wIi8+PC9nPgo8ZyB0cmFuc2Zvcm09InRyYW5zbGF0ZSg5NywxNjQ5KSI+PHVzZSB4bGluazpocmVmPSIjcmItMCIvPjwvZz4KPGcgdHJhbnNmb3JtPSJ0cmFuc2xhdGUoMTk0LDE2NDkpIj48dXNlIHhsaW5rOmhyZWY9IiNsdC0wIi8+PC9nPgo8ZyB0cmFuc2Zvcm09InRyYW5zbGF0ZSg0ODUsMTY0OSkiPjx1c2UgeGxpbms6aHJlZj0iI3QtMCIvPjwvZz4KPGcgdHJhbnNmb3JtPSJ0cmFuc2xhdGUoMTA2NywxNjQ5KSI+PHVzZSB4bGluazpocmVmPSIjZW1wdHktMCIvPjwvZz4KPGcgdHJhbnNmb3JtPSJ0cmFuc2xhdGUoMTM1OCwxNjQ5KSI+PHVzZSB4bGluazpocmVmPSIjci0wIi8+PC9nPgo8ZyB0cmFuc2Zvcm09InRyYW5zbGF0ZSgxNDU1LDE2NDkpIj48dXNlIHhsaW5rOmhyZWY9IiNsLTAiLz48L2c+CjxnIHRyYW5zZm9ybT0idHJhbnNsYXRlKDIwMzcsMTY0OSkiPjx1c2UgeGxpbms6aHJlZj0iI2VtcHR5LTAiLz48L2c+CjxnIHRyYW5zZm9ybT0idHJhbnNsYXRlKDIzMjgsMTY0OSkiPjx1c2UgeGxpbms6aHJlZj0iI2VtcHR5LTAiLz48L2c+CjxnIHRyYW5zZm9ybT0idHJhbnNsYXRlKDI1MjIsMTY0OSkiPjx1c2UgeGxpbms6aHJlZj0iI3ItMCIvPjwvZz4KPGcgdHJhbnNmb3JtPSJ0cmFuc2xhdGUoMjYxOSwxNjQ5KSI+PHVzZSB4bGluazpocmVmPSIjcmVjdC0wIi8+PC9nPgo8ZyB0cmFuc2Zvcm09InRyYW5zbGF0ZSgyNzE2LDE2NDkpIj48dXNlIHhsaW5rOmhyZWY9IiNyZWN0LTAiLz48L2c+CjxnIHRyYW5zZm9ybT0idHJhbnNsYXRlKDI4MTMsMTY0OSkiPjx1c2UgeGxpbms6aHJlZj0iI3JlY3QtMCIvPjwvZz4KPGcgdHJhbnNmb3JtPSJ0cmFuc2xhdGUoMzAwNywxNjQ5KSI+PHVzZSB4bGluazpocmVmPSIjcmVjdC0wIi8+PC9nPgo8ZyB0cmFuc2Zvcm09InRyYW5zbGF0ZSgzMzk1LDE2NDkpIj48dXNlIHhsaW5rOmhyZWY9IiN0LTAiLz48L2c+CjxnIHRyYW5zZm9ybT0idHJhbnNsYXRlKDAsMTc0NikiPjx1c2UgeGxpbms6aHJlZj0iI3ItMCIvPjwvZz4KPGcgdHJhbnNmb3JtPSJ0cmFuc2xhdGUoOTcsMTc0NikiPjx1c2UgeGxpbms6aHJlZj0iI2x0LTAiLz48L2c+CjxnIHRyYW5zZm9ybT0idHJhbnNsYXRlKDM4OCwxNzQ2KSI+PHVzZSB4bGluazpocmVmPSIjZW1wdHktMCIvPjwvZz4KPGcgdHJhbnNmb3JtPSJ0cmFuc2xhdGUoNTgyLDE3NDYpIj48dXNlIHhsaW5rOmhyZWY9IiNyLTAiLz48L2c+CjxnIHRyYW5zZm9ybT0idHJhbnNsYXRlKDY3OSwxNzQ2KSI+PHVzZSB4bGluazpocmVmPSIjcmVjdC0wIi8+PC9nPgo8ZyB0cmFuc2Zvcm09InRyYW5zbGF0ZSg3NzYsMTc0NikiPjx1c2UgeGxpbms6aHJlZj0iI2xiLTAiLz48L2c+CjxnIHRyYW5zZm9ybT0idHJhbnNsYXRlKDg3MywxNzQ2KSI+PHVzZSB4bGluazpocmVmPSIjbl9yYi0wIi8+PC9nPgo8ZyB0cmFuc2Zvcm09InRyYW5zbGF0ZSg5NzAsMTc0NikiPjx1c2UgeGxpbms6aHJlZj0iI2ItMCIvPjwvZz4KPGcgdHJhbnNmb3JtPSJ0cmFuc2xhdGUoMTE2NCwxNzQ2KSI+PHVzZSB4bGluazpocmVmPSIjcmItMCIvPjwvZz4KPGcgdHJhbnNmb3JtPSJ0cmFuc2xhdGUoMTI2MSwxNzQ2KSI+PHVzZSB4bGluazpocmVmPSIjbGItMCIvPjwvZz4KPGcgdHJhbnNmb3JtPSJ0cmFuc2xhdGUoMTU1MiwxNzQ2KSI+PHVzZSB4bGluazpocmVmPSIjci0wIi8+PC9nPgo8ZyB0cmFuc2Zvcm09InRyYW5zbGF0ZSgxNjQ5LDE3NDYpIj48dXNlIHhsaW5rOmhyZWY9IiNyZWN0LTAiLz48L2c+CjxnIHRyYW5zZm9ybT0idHJhbnNsYXRlKDE3NDYsMTc0NikiPjx1c2UgeGxpbms6aHJlZj0iI3JlY3QtMCIvPjwvZz4KPGcgdHJhbnNmb3JtPSJ0cmFuc2xhdGUoMTg0MywxNzQ2KSI+PHVzZSB4bGluazpocmVmPSIjcmVjdC0wIi8+PC9nPgo8ZyB0cmFuc2Zvcm09InRyYW5zbGF0ZSgxOTQwLDE3NDYpIj48dXNlIHhsaW5rOmhyZWY9IiNsYi0wIi8+PC9nPgo8ZyB0cmFuc2Zvcm09InRyYW5zbGF0ZSgyNjE5LDE3NDYpIj48dXNlIHhsaW5rOmhyZWY9IiNyZWN0LTAiLz48L2c+CjxnIHRyYW5zZm9ybT0idHJhbnNsYXRlKDI4MTMsMTc0NikiPjx1c2UgeGxpbms6aHJlZj0iI3J0LTAiLz48L2c+CjxnIHRyYW5zZm9ybT0idHJhbnNsYXRlKDI5MTAsMTc0NikiPjx1c2UgeGxpbms6aHJlZj0iI3JlY3QtMCIvPjwvZz4KPGcgdHJhbnNmb3JtPSJ0cmFuc2xhdGUoMzAwNywxNzQ2KSI+PHVzZSB4bGluazpocmVmPSIjcmVjdC0wIi8+PC9nPgo8ZyB0cmFuc2Zvcm09InRyYW5zbGF0ZSgzMzk1LDE3NDYpIj48dXNlIHhsaW5rOmhyZWY9IiNuX3JiLTAiLz48L2c+CjxnIHRyYW5zZm9ybT0idHJhbnNsYXRlKDM0OTIsMTc0NikiPjx1c2UgeGxpbms6aHJlZj0iI2ItMCIvPjwvZz4KPGcgdHJhbnNmb3JtPSJ0cmFuc2xhdGUoMTk0LDE4NDMpIj48dXNlIHhsaW5rOmhyZWY9IiNlbXB0eS0wIi8+PC9nPgo8ZyB0cmFuc2Zvcm09InRyYW5zbGF0ZSg3NzYsMTg0MykiPjx1c2UgeGxpbms6aHJlZj0iI3JlY3QtMCIvPjwvZz4KPGcgdHJhbnNmb3JtPSJ0cmFuc2xhdGUoODczLDE4NDMpIj48dXNlIHhsaW5rOmhyZWY9IiNyZWN0LTAiLz48L2c+CjxnIHRyYW5zZm9ybT0idHJhbnNsYXRlKDk3MCwxODQzKSI+PHVzZSB4bGluazpocmVmPSIjbHQtMCIvPjwvZz4KPGcgdHJhbnNmb3JtPSJ0cmFuc2xhdGUoMTE2NCwxODQzKSI+PHVzZSB4bGluazpocmVmPSIjcnQtMCIvPjwvZz4KPGcgdHJhbnNmb3JtPSJ0cmFuc2xhdGUoMTI2MSwxODQzKSI+PHVzZSB4bGluazpocmVmPSIjcmVjdC0wIi8+PC9nPgo8ZyB0cmFuc2Zvcm09InRyYW5zbGF0ZSgxMzU4LDE4NDMpIj48dXNlIHhsaW5rOmhyZWY9IiNyZWN0LTAiLz48L2c+CjxnIHRyYW5zZm9ybT0idHJhbnNsYXRlKDE0NTUsMTg0MykiPjx1c2UgeGxpbms6aHJlZj0iI2wtMCIvPjwvZz4KPGcgdHJhbnNmb3JtPSJ0cmFuc2xhdGUoMTc0NiwxODQzKSI+PHVzZSB4bGluazpocmVmPSIjcmVjdC0wIi8+PC9nPgo8ZyB0cmFuc2Zvcm09InRyYW5zbGF0ZSgxOTQwLDE4NDMpIj48dXNlIHhsaW5rOmhyZWY9IiN0LTAiLz48L2c+CjxnIHRyYW5zZm9ybT0idHJhbnNsYXRlKDIxMzQsMTg0MykiPjx1c2UgeGxpbms6aHJlZj0iI2VtcHR5LTAiLz48L2c+CjxnIHRyYW5zZm9ybT0idHJhbnNsYXRlKDIzMjgsMTg0MykiPjx1c2UgeGxpbms6aHJlZj0iI3ItMCIvPjwvZz4KPGcgdHJhbnNmb3JtPSJ0cmFuc2xhdGUoMjQyNSwxODQzKSI+PHVzZSB4bGluazpocmVmPSIjcmVjdC0wIi8+PC9nPgo8ZyB0cmFuc2Zvcm09InRyYW5zbGF0ZSgyNTIyLDE4NDMpIj48dXNlIHhsaW5rOmhyZWY9IiNyZWN0LTAiLz48L2c+CjxnIHRyYW5zZm9ybT0idHJhbnNsYXRlKDI2MTksMTg0MykiPjx1c2UgeGxpbms6aHJlZj0iI3JlY3QtMCIvPjwvZz4KPGcgdHJhbnNmb3JtPSJ0cmFuc2xhdGUoMzAwNywxODQzKSI+PHVzZSB4bGluazpocmVmPSIjcnQtMCIvPjwvZz4KPGcgdHJhbnNmb3JtPSJ0cmFuc2xhdGUoMzEwNCwxODQzKSI+PHVzZSB4bGluazpocmVmPSIjbGItMCIvPjwvZz4KPGcgdHJhbnNmb3JtPSJ0cmFuc2xhdGUoMzM5NSwxODQzKSI+PHVzZSB4bGluazpocmVmPSIjcmItMCIvPjwvZz4KPGcgdHJhbnNmb3JtPSJ0cmFuc2xhdGUoMzQ5MiwxODQzKSI+PHVzZSB4bGluazpocmVmPSIjcmVjdC0wIi8+PC9nPgo8ZyB0cmFuc2Zvcm09InRyYW5zbGF0ZSg5NywxOTQwKSI+PHVzZSB4bGluazpocmVmPSIjYi0wIi8+PC9nPgo8ZyB0cmFuc2Zvcm09InRyYW5zbGF0ZSgzODgsMTk0MCkiPjx1c2UgeGxpbms6aHJlZj0iI3ItMCIvPjwvZz4KPGcgdHJhbnNmb3JtPSJ0cmFuc2xhdGUoNDg1LDE5NDApIj48dXNlIHhsaW5rOmhyZWY9IiNyZWN0LTAiLz48L2c+CjxnIHRyYW5zZm9ybT0idHJhbnNsYXRlKDU4MiwxOTQwKSI+PHVzZSB4bGluazpocmVmPSIjcmVjdC0wIi8+PC9nPgo8ZyB0cmFuc2Zvcm09InRyYW5zbGF0ZSg2NzksMTk0MCkiPjx1c2UgeGxpbms6aHJlZj0iI3JlY3QtMCIvPjwvZz4KPGcgdHJhbnNmb3JtPSJ0cmFuc2xhdGUoNzc2LDE5NDApIj48dXNlIHhsaW5rOmhyZWY9IiNyZWN0LTAiLz48L2c+CjxnIHRyYW5zZm9ybT0idHJhbnNsYXRlKDg3MywxOTQwKSI+PHVzZSB4bGluazpocmVmPSIjcmVjdC0wIi8+PC9nPgo8ZyB0cmFuc2Zvcm09InRyYW5zbGF0ZSgxMzU4LDE5NDApIj48dXNlIHhsaW5rOmhyZWY9IiN0LTAiLz48L2c+CjxnIHRyYW5zZm9ybT0idHJhbnNsYXRlKDE1NTIsMTk0MCkiPjx1c2UgeGxpbms6aHJlZj0iI2VtcHR5LTAiLz48L2c+CjxnIHRyYW5zZm9ybT0idHJhbnNsYXRlKDE2NDksMTk0MCkiPjx1c2UgeGxpbms6aHJlZj0iI25fcmItMCIvPjwvZz4KPGcgdHJhbnNmb3JtPSJ0cmFuc2xhdGUoMTc0NiwxOTQwKSI+PHVzZSB4bGluazpocmVmPSIjcmVjdC0wIi8+PC9nPgo8ZyB0cmFuc2Zvcm09InRyYW5zbGF0ZSgxODQzLDE5NDApIj48dXNlIHhsaW5rOmhyZWY9IiNsLTAiLz48L2c+CjxnIHRyYW5zZm9ybT0idHJhbnNsYXRlKDIwMzcsMTk0MCkiPjx1c2UgeGxpbms6aHJlZj0iI2VtcHR5LTAiLz48L2c+CjxnIHRyYW5zZm9ybT0idHJhbnNsYXRlKDIxMzQsMTk0MCkiPjx1c2UgeGxpbms6aHJlZj0iI25fcmItMCIvPjwvZz4KPGcgdHJhbnNmb3JtPSJ0cmFuc2xhdGUoMjIzMSwxOTQwKSI+PHVzZSB4bGluazpocmVmPSIjYi0wIi8+PC9nPgo8ZyB0cmFuc2Zvcm09InRyYW5zbGF0ZSgyNTIyLDE5NDApIj48dXNlIHhsaW5rOmhyZWY9IiNyZWN0LTAiLz48L2c+CjxnIHRyYW5zZm9ybT0idHJhbnNsYXRlKDI2MTksMTk0MCkiPjx1c2UgeGxpbms6aHJlZj0iI3JlY3QtMCIvPjwvZz4KPGcgdHJhbnNmb3JtPSJ0cmFuc2xhdGUoMjcxNiwxOTQwKSI+PHVzZSB4bGluazpocmVmPSIjcmVjdC0wIi8+PC9nPgo8ZyB0cmFuc2Zvcm09InRyYW5zbGF0ZSgyODEzLDE5NDApIj48dXNlIHhsaW5rOmhyZWY9IiNyZWN0LTAiLz48L2c+CjxnIHRyYW5zZm9ybT0idHJhbnNsYXRlKDI5MTAsMTk0MCkiPjx1c2UgeGxpbms6aHJlZj0iI2wtMCIvPjwvZz4KPGcgdHJhbnNmb3JtPSJ0cmFuc2xhdGUoMzEwNCwxOTQwKSI+PHVzZSB4bGluazpocmVmPSIjcmVjdC0wIi8+PC9nPgo8ZyB0cmFuc2Zvcm09InRyYW5zbGF0ZSgzMjAxLDE5NDApIj48dXNlIHhsaW5rOmhyZWY9IiNsYi0wIi8+PC9nPgo8ZyB0cmFuc2Zvcm09InRyYW5zbGF0ZSgzMzk1LDE5NDApIj48dXNlIHhsaW5rOmhyZWY9IiNydC0wIi8+PC9nPgo8ZyB0cmFuc2Zvcm09InRyYW5zbGF0ZSgzNDkyLDE5NDApIj48dXNlIHhsaW5rOmhyZWY9IiNsdC0wIi8+PC9nPgo8ZyB0cmFuc2Zvcm09InRyYW5zbGF0ZSg5NywyMDM3KSI+PHVzZSB4bGluazpocmVmPSIjcnQtMCIvPjwvZz4KPGcgdHJhbnNmb3JtPSJ0cmFuc2xhdGUoMTk0LDIwMzcpIj48dXNlIHhsaW5rOmhyZWY9IiNyZWN0LTAiLz48L2c+CjxnIHRyYW5zZm9ybT0idHJhbnNsYXRlKDI5MSwyMDM3KSI+PHVzZSB4bGluazpocmVmPSIjbGItMCIvPjwvZz4KPGcgdHJhbnNmb3JtPSJ0cmFuc2xhdGUoODczLDIwMzcpIj48dXNlIHhsaW5rOmhyZWY9IiNydC0wIi8+PC9nPgo8ZyB0cmFuc2Zvcm09InRyYW5zbGF0ZSg5NzAsMjAzNykiPjx1c2UgeGxpbms6aHJlZj0iI2xiLTAiLz48L2c+CjxnIHRyYW5zZm9ybT0idHJhbnNsYXRlKDExNjQsMjAzNykiPjx1c2UgeGxpbms6aHJlZj0iI2VtcHR5LTAiLz48L2c+CjxnIHRyYW5zZm9ybT0idHJhbnNsYXRlKDE0NTUsMjAzNykiPjx1c2UgeGxpbms6aHJlZj0iI2VtcHR5LTAiLz48L2c+CjxnIHRyYW5zZm9ybT0idHJhbnNsYXRlKDE1NTIsMjAzNykiPjx1c2UgeGxpbms6aHJlZj0iI25fcmItMCIvPjwvZz4KPGcgdHJhbnNmb3JtPSJ0cmFuc2xhdGUoMTY0OSwyMDM3KSI+PHVzZSB4bGluazpocmVmPSIjcmItMCIvPjwvZz4KPGcgdHJhbnNmb3JtPSJ0cmFuc2xhdGUoMTc0NiwyMDM3KSI+PHVzZSB4bGluazpocmVmPSIjcmVjdC0wIi8+PC9nPgo8ZyB0cmFuc2Zvcm09InRyYW5zbGF0ZSgxOTQwLDIwMzcpIj48dXNlIHhsaW5rOmhyZWY9IiNiLTAiLz48L2c+CjxnIHRyYW5zZm9ybT0idHJhbnNsYXRlKDIxMzQsMjAzNykiPjx1c2UgeGxpbms6aHJlZj0iI3ItMCIvPjwvZz4KPGcgdHJhbnNmb3JtPSJ0cmFuc2xhdGUoMjIzMSwyMDM3KSI+PHVzZSB4bGluazpocmVmPSIjcmVjdC0wIi8+PC9nPgo8ZyB0cmFuc2Zvcm09InRyYW5zbGF0ZSgyMzI4LDIwMzcpIj48dXNlIHhsaW5rOmhyZWY9IiNyZWN0LTAiLz48L2c+CjxnIHRyYW5zZm9ybT0idHJhbnNsYXRlKDI0MjUsMjAzNykiPjx1c2UgeGxpbms6aHJlZj0iI3JlY3QtMCIvPjwvZz4KPGcgdHJhbnNmb3JtPSJ0cmFuc2xhdGUoMjUyMiwyMDM3KSI+PHVzZSB4bGluazpocmVmPSIjcmVjdC0wIi8+PC9nPgo8ZyB0cmFuc2Zvcm09InRyYW5zbGF0ZSgyNjE5LDIwMzcpIj48dXNlIHhsaW5rOmhyZWY9IiNyZWN0LTAiLz48L2c+CjxnIHRyYW5zZm9ybT0idHJhbnNsYXRlKDI3MTYsMjAzNykiPjx1c2UgeGxpbms6aHJlZj0iI2x0LTAiLz48L2c+CjxnIHRyYW5zZm9ybT0idHJhbnNsYXRlKDMwMDcsMjAzNykiPjx1c2UgeGxpbms6aHJlZj0iI3ItMCIvPjwvZz4KPGcgdHJhbnNmb3JtPSJ0cmFuc2xhdGUoMzEwNCwyMDM3KSI+PHVzZSB4bGluazpocmVmPSIjcmVjdC0wIi8+PC9nPgo8ZyB0cmFuc2Zvcm09InRyYW5zbGF0ZSgzMjAxLDIwMzcpIj48dXNlIHhsaW5rOmhyZWY9IiNsdC0wIi8+PC9nPgo8ZyB0cmFuc2Zvcm09InRyYW5zbGF0ZSgxOTQsMjEzNCkiPjx1c2UgeGxpbms6aHJlZj0iI3J0LTAiLz48L2c+CjxnIHRyYW5zZm9ybT0idHJhbnNsYXRlKDI5MSwyMTM0KSI+PHVzZSB4bGluazpocmVmPSIjcmVjdC0wIi8+PC9nPgo8ZyB0cmFuc2Zvcm09InRyYW5zbGF0ZSgzODgsMjEzNCkiPjx1c2UgeGxpbms6aHJlZj0iI3JlY3QtMCIvPjwvZz4KPGcgdHJhbnNmb3JtPSJ0cmFuc2xhdGUoNDg1LDIxMzQpIj48dXNlIHhsaW5rOmhyZWY9IiNyZWN0LTAiLz48L2c+CjxnIHRyYW5zZm9ybT0idHJhbnNsYXRlKDU4MiwyMTM0KSI+PHVzZSB4bGluazpocmVmPSIjcmVjdC0wIi8+PC9nPgo8ZyB0cmFuc2Zvcm09InRyYW5zbGF0ZSg2NzksMjEzNCkiPjx1c2UgeGxpbms6aHJlZj0iI2wtMCIvPjwvZz4KPGcgdHJhbnNmb3JtPSJ0cmFuc2xhdGUoOTcwLDIxMzQpIj48dXNlIHhsaW5rOmhyZWY9IiNyZWN0LTAiLz48L2c+CjxnIHRyYW5zZm9ybT0idHJhbnNsYXRlKDEwNjcsMjEzNCkiPjx1c2UgeGxpbms6aHJlZj0iI2wtMCIvPjwvZz4KPGcgdHJhbnNmb3JtPSJ0cmFuc2xhdGUoMTU1MiwyMTM0KSI+PHVzZSB4bGluazpocmVmPSIjcmItMCIvPjwvZz4KPGcgdHJhbnNmb3JtPSJ0cmFuc2xhdGUoMTY0OSwyMTM0KSI+PHVzZSB4bGluazpocmVmPSIjcmVjdC0wIi8+PC9nPgo8ZyB0cmFuc2Zvcm09InRyYW5zbGF0ZSgxNzQ2LDIxMzQpIj48dXNlIHhsaW5rOmhyZWY9IiNyZWN0LTAiLz48L2c+CjxnIHRyYW5zZm9ybT0idHJhbnNsYXRlKDE5NDAsMjEzNCkiPjx1c2UgeGxpbms6aHJlZj0iI3JlY3QtMCIvPjwvZz4KPGcgdHJhbnNmb3JtPSJ0cmFuc2xhdGUoMjMyOCwyMTM0KSI+PHVzZSB4bGluazpocmVmPSIjcmVjdC0wIi8+PC9nPgo8ZyB0cmFuc2Zvcm09InRyYW5zbGF0ZSgyNDI1LDIxMzQpIj48dXNlIHhsaW5rOmhyZWY9IiNyZWN0LTAiLz48L2c+CjxnIHRyYW5zZm9ybT0idHJhbnNsYXRlKDI2MTksMjEzNCkiPjx1c2UgeGxpbms6aHJlZj0iI3JlY3QtMCIvPjwvZz4KPGcgdHJhbnNmb3JtPSJ0cmFuc2xhdGUoMzEwNCwyMTM0KSI+PHVzZSB4bGluazpocmVmPSIjdC0wIi8+PC9nPgo8ZyB0cmFuc2Zvcm09InRyYW5zbGF0ZSgzMjAxLDIxMzQpIj48dXNlIHhsaW5rOmhyZWY9IiNuX3JiLTAiLz48L2c+CjxnIHRyYW5zZm9ybT0idHJhbnNsYXRlKDMyOTgsMjEzNCkiPjx1c2UgeGxpbms6aHJlZj0iI2ItMCIvPjwvZz4KPGcgdHJhbnNmb3JtPSJ0cmFuc2xhdGUoMzM5NSwyMTM0KSI+PHVzZSB4bGluazpocmVmPSIjbl9yYi0wIi8+PC9nPgo8ZyB0cmFuc2Zvcm09InRyYW5zbGF0ZSgzNDkyLDIxMzQpIj48dXNlIHhsaW5rOmhyZWY9IiNiLTAiLz48L2c+CjxnIHRyYW5zZm9ybT0idHJhbnNsYXRlKDAsMjIzMSkiPjx1c2UgeGxpbms6aHJlZj0iI3JiLTAiLz48L2c+CjxnIHRyYW5zZm9ybT0idHJhbnNsYXRlKDk3LDIyMzEpIj48dXNlIHhsaW5rOmhyZWY9IiNsLTAiLz48L2c+CjxnIHRyYW5zZm9ybT0idHJhbnNsYXRlKDI5MSwyMjMxKSI+PHVzZSB4bGluazpocmVmPSIjcmVjdC0wIi8+PC9nPgo8ZyB0cmFuc2Zvcm09InRyYW5zbGF0ZSg0ODUsMjIzMSkiPjx1c2UgeGxpbms6aHJlZj0iI3JlY3QtMCIvPjwvZz4KPGcgdHJhbnNmb3JtPSJ0cmFuc2xhdGUoOTcwLDIyMzEpIj48dXNlIHhsaW5rOmhyZWY9IiNyZWN0LTAiLz48L2c+CjxnIHRyYW5zZm9ybT0idHJhbnNsYXRlKDEwNjcsMjIzMSkiPjx1c2UgeGxpbms6aHJlZj0iI25fcmItMCIvPjwvZz4KPGcgdHJhbnNmb3JtPSJ0cmFuc2xhdGUoMTE2NCwyMjMxKSI+PHVzZSB4bGluazpocmVmPSIjcmItMCIvPjwvZz4KPGcgdHJhbnNmb3JtPSJ0cmFuc2xhdGUoMTI2MSwyMjMxKSI+PHVzZSB4bGluazpocmVmPSIjcmVjdC0wIi8+PC9nPgo8ZyB0cmFuc2Zvcm09InRyYW5zbGF0ZSgxMzU4LDIyMzEpIj48dXNlIHhsaW5rOmhyZWY9IiNsYi0wIi8+PC9nPgo8ZyB0cmFuc2Zvcm09InRyYW5zbGF0ZSgxNTUyLDIyMzEpIj48dXNlIHhsaW5rOmhyZWY9IiN0LTAiLz48L2c+CjxnIHRyYW5zZm9ybT0idHJhbnNsYXRlKDE3NDYsMjIzMSkiPjx1c2UgeGxpbms6aHJlZj0iI3JlY3QtMCIvPjwvZz4KPGcgdHJhbnNmb3JtPSJ0cmFuc2xhdGUoMTk0MCwyMjMxKSI+PHVzZSB4bGluazpocmVmPSIjdC0wIi8+PC9nPgo8ZyB0cmFuc2Zvcm09InRyYW5zbGF0ZSgyMDM3LDIyMzEpIj48dXNlIHhsaW5rOmhyZWY9IiNuX3JiLTAiLz48L2c+CjxnIHRyYW5zZm9ybT0idHJhbnNsYXRlKDIxMzQsMjIzMSkiPjx1c2UgeGxpbms6aHJlZj0iI2ItMCIvPjwvZz4KPGcgdHJhbnNmb3JtPSJ0cmFuc2xhdGUoMjIzMSwyMjMxKSI+PHVzZSB4bGluazpocmVmPSIjbl9yYi0wIi8+PC9nPgo8ZyB0cmFuc2Zvcm09InRyYW5zbGF0ZSgyMzI4LDIyMzEpIj48dXNlIHhsaW5rOmhyZWY9IiNyZWN0LTAiLz48L2c+CjxnIHRyYW5zZm9ybT0idHJhbnNsYXRlKDI0MjUsMjIzMSkiPjx1c2UgeGxpbms6aHJlZj0iI3JlY3QtMCIvPjwvZz4KPGcgdHJhbnNmb3JtPSJ0cmFuc2xhdGUoMjYxOSwyMjMxKSI+PHVzZSB4bGluazpocmVmPSIjcnQtMCIvPjwvZz4KPGcgdHJhbnNmb3JtPSJ0cmFuc2xhdGUoMjcxNiwyMjMxKSI+PHVzZSB4bGluazpocmVmPSIjcmVjdC0wIi8+PC9nPgo8ZyB0cmFuc2Zvcm09InRyYW5zbGF0ZSgyODEzLDIyMzEpIj48dXNlIHhsaW5rOmhyZWY9IiNsLTAiLz48L2c+CjxnIHRyYW5zZm9ybT0idHJhbnNsYXRlKDMwMDcsMjIzMSkiPjx1c2UgeGxpbms6aHJlZj0iI2VtcHR5LTAiLz48L2c+CjxnIHRyYW5zZm9ybT0idHJhbnNsYXRlKDMyMDEsMjIzMSkiPjx1c2UgeGxpbms6aHJlZj0iI3ItMCIvPjwvZz4KPGcgdHJhbnNmb3JtPSJ0cmFuc2xhdGUoMzI5OCwyMjMxKSI+PHVzZSB4bGluazpocmVmPSIjcmVjdC0wIi8+PC9nPgo8ZyB0cmFuc2Zvcm09InRyYW5zbGF0ZSgzMzk1LDIyMzEpIj48dXNlIHhsaW5rOmhyZWY9IiNyZWN0LTAiLz48L2c+CjxnIHRyYW5zZm9ybT0idHJhbnNsYXRlKDM0OTIsMjIzMSkiPjx1c2UgeGxpbms6aHJlZj0iI2x0LTAiLz48L2c+CjxnIHRyYW5zZm9ybT0idHJhbnNsYXRlKDAsMjMyOCkiPjx1c2UgeGxpbms6aHJlZj0iI3JlY3QtMCIvPjwvZz4KPGcgdHJhbnNmb3JtPSJ0cmFuc2xhdGUoMTk0LDIzMjgpIj48dXNlIHhsaW5rOmhyZWY9IiNyLTAiLz48L2c+CjxnIHRyYW5zZm9ybT0idHJhbnNsYXRlKDI5MSwyMzI4KSI+PHVzZSB4bGluazpocmVmPSIjbHQtMCIvPjwvZz4KPGcgdHJhbnNmb3JtPSJ0cmFuc2xhdGUoMzg4LDIzMjgpIj48dXNlIHhsaW5rOmhyZWY9IiNuX3JiLTAiLz48L2c+CjxnIHRyYW5zZm9ybT0idHJhbnNsYXRlKDQ4NSwyMzI4KSI+PHVzZSB4bGluazpocmVmPSIjcmVjdC0wIi8+PC9nPgo8ZyB0cmFuc2Zvcm09InRyYW5zbGF0ZSg1ODIsMjMyOCkiPjx1c2UgeGxpbms6aHJlZj0iI2wtMCIvPjwvZz4KPGcgdHJhbnNmb3JtPSJ0cmFuc2xhdGUoOTcwLDIzMjgpIj48dXNlIHhsaW5rOmhyZWY9IiNydC0wIi8+PC9nPgo8ZyB0cmFuc2Zvcm09InRyYW5zbGF0ZSgxMDY3LDIzMjgpIj48dXNlIHhsaW5rOmhyZWY9IiNyZWN0LTAiLz48L2c+CjxnIHRyYW5zZm9ybT0idHJhbnNsYXRlKDExNjQsMjMyOCkiPjx1c2UgeGxpbms6aHJlZj0iI2x0LTAiLz48L2c+CjxnIHRyYW5zZm9ybT0idHJhbnNsYXRlKDEzNTgsMjMyOCkiPjx1c2UgeGxpbms6aHJlZj0iI3QtMCIvPjwvZz4KPGcgdHJhbnNmb3JtPSJ0cmFuc2xhdGUoMTU1MiwyMzI4KSI+PHVzZSB4bGluazpocmVmPSIjbl9yYi0wIi8+PC9nPgo8ZyB0cmFuc2Zvcm09InRyYW5zbGF0ZSgxNjQ5LDIzMjgpIj48dXNlIHhsaW5rOmhyZWY9IiNyYi0wIi8+PC9nPgo8ZyB0cmFuc2Zvcm09InRyYW5zbGF0ZSgxNzQ2LDIzMjgpIj48dXNlIHhsaW5rOmhyZWY9IiNyZWN0LTAiLz48L2c+CjxnIHRyYW5zZm9ybT0idHJhbnNsYXRlKDE4NDMsMjMyOCkiPjx1c2UgeGxpbms6aHJlZj0iI2xiLTAiLz48L2c+CjxnIHRyYW5zZm9ybT0idHJhbnNsYXRlKDIwMzcsMjMyOCkiPjx1c2UgeGxpbms6aHJlZj0iI3ItMCIvPjwvZz4KPGcgdHJhbnNmb3JtPSJ0cmFuc2xhdGUoMjEzNCwyMzI4KSI+PHVzZSB4bGluazpocmVmPSIjcmVjdC0wIi8+PC9nPgo8ZyB0cmFuc2Zvcm09InRyYW5zbGF0ZSgyMjMxLDIzMjgpIj48dXNlIHhsaW5rOmhyZWY9IiNyZWN0LTAiLz48L2c+CjxnIHRyYW5zZm9ybT0idHJhbnNsYXRlKDIzMjgsMjMyOCkiPjx1c2UgeGxpbms6aHJlZj0iI3JlY3QtMCIvPjwvZz4KPGcgdHJhbnNmb3JtPSJ0cmFuc2xhdGUoMjQyNSwyMzI4KSI+PHVzZSB4bGluazpocmVmPSIjcmVjdC0wIi8+PC9nPgo8ZyB0cmFuc2Zvcm09InRyYW5zbGF0ZSgzMzk1LDIzMjgpIj48dXNlIHhsaW5rOmhyZWY9IiN0LTAiLz48L2c+CjxnIHRyYW5zZm9ybT0idHJhbnNsYXRlKDAsMjQyNSkiPjx1c2UgeGxpbms6aHJlZj0iI3JlY3QtMCIvPjwvZz4KPGcgdHJhbnNmb3JtPSJ0cmFuc2xhdGUoOTcsMjQyNSkiPjx1c2UgeGxpbms6aHJlZj0iI2xiLTAiLz48L2c+CjxnIHRyYW5zZm9ybT0idHJhbnNsYXRlKDM4OCwyNDI1KSI+PHVzZSB4bGluazpocmVmPSIjci0wIi8+PC9nPgo8ZyB0cmFuc2Zvcm09InRyYW5zbGF0ZSg0ODUsMjQyNSkiPjx1c2UgeGxpbms6aHJlZj0iI2x0LTAiLz48L2c+CjxnIHRyYW5zZm9ybT0idHJhbnNsYXRlKDc3NiwyNDI1KSI+PHVzZSB4bGluazpocmVmPSIjcmItMCIvPjwvZz4KPGcgdHJhbnNmb3JtPSJ0cmFuc2xhdGUoODczLDI0MjUpIj48dXNlIHhsaW5rOmhyZWY9IiNsLTAiLz48L2c+CjxnIHRyYW5zZm9ybT0idHJhbnNsYXRlKDEwNjcsMjQyNSkiPjx1c2UgeGxpbms6aHJlZj0iI3JlY3QtMCIvPjwvZz4KPGcgdHJhbnNmb3JtPSJ0cmFuc2xhdGUoMTQ1NSwyNDI1KSI+PHVzZSB4bGluazpocmVmPSIjcmItMCIvPjwvZz4KPGcgdHJhbnNmb3JtPSJ0cmFuc2xhdGUoMTU1MiwyNDI1KSI+PHVzZSB4bGluazpocmVmPSIjcmVjdC0wIi8+PC9nPgo8ZyB0cmFuc2Zvcm09InRyYW5zbGF0ZSgxNjQ5LDI0MjUpIj48dXNlIHhsaW5rOmhyZWY9IiNyZWN0LTAiLz48L2c+CjxnIHRyYW5zZm9ybT0idHJhbnNsYXRlKDE4NDMsMjQyNSkiPjx1c2UgeGxpbms6aHJlZj0iI3JlY3QtMCIvPjwvZz4KPGcgdHJhbnNmb3JtPSJ0cmFuc2xhdGUoMTk0MCwyNDI1KSI+PHVzZSB4bGluazpocmVmPSIjbGItMCIvPjwvZz4KPGcgdHJhbnNmb3JtPSJ0cmFuc2xhdGUoMjQyNSwyNDI1KSI+PHVzZSB4bGluazpocmVmPSIjcnQtMCIvPjwvZz4KPGcgdHJhbnNmb3JtPSJ0cmFuc2xhdGUoMjUyMiwyNDI1KSI+PHVzZSB4bGluazpocmVmPSIjbC0wIi8+PC9nPgo8ZyB0cmFuc2Zvcm09InRyYW5zbGF0ZSgyOTEwLDI0MjUpIj48dXNlIHhsaW5rOmhyZWY9IiNyYi0wIi8+PC9nPgo8ZyB0cmFuc2Zvcm09InRyYW5zbGF0ZSgzMDA3LDI0MjUpIj48dXNlIHhsaW5rOmhyZWY9IiNyZWN0LTAiLz48L2c+CjxnIHRyYW5zZm9ybT0idHJhbnNsYXRlKDMxMDQsMjQyNSkiPjx1c2UgeGxpbms6aHJlZj0iI3JlY3QtMCIvPjwvZz4KPGcgdHJhbnNmb3JtPSJ0cmFuc2xhdGUoMzIwMSwyNDI1KSI+PHVzZSB4bGluazpocmVmPSIjbC0wIi8+PC9nPgo8ZyB0cmFuc2Zvcm09InRyYW5zbGF0ZSgzMzk1LDI0MjUpIj48dXNlIHhsaW5rOmhyZWY9IiNuX3JiLTAiLz48L2c+CjxnIHRyYW5zZm9ybT0idHJhbnNsYXRlKDM0OTIsMjQyNSkiPjx1c2UgeGxpbms6aHJlZj0iI2ItMCIvPjwvZz4KPGcgdHJhbnNmb3JtPSJ0cmFuc2xhdGUoMCwyNTIyKSI+PHVzZSB4bGluazpocmVmPSIjcmVjdC0wIi8+PC9nPgo8ZyB0cmFuc2Zvcm09InRyYW5zbGF0ZSg5NywyNTIyKSI+PHVzZSB4bGluazpocmVmPSIjbHQtMCIvPjwvZz4KPGcgdHJhbnNmb3JtPSJ0cmFuc2xhdGUoNTgyLDI1MjIpIj48dXNlIHhsaW5rOmhyZWY9IiNlbXB0eS0wIi8+PC9nPgo8ZyB0cmFuc2Zvcm09InRyYW5zbGF0ZSg3NzYsMjUyMikiPjx1c2UgeGxpbms6aHJlZj0iI3QtMCIvPjwvZz4KPGcgdHJhbnNmb3JtPSJ0cmFuc2xhdGUoMTA2NywyNTIyKSI+PHVzZSB4bGluazpocmVmPSIjcmVjdC0wIi8+PC9nPgo8ZyB0cmFuc2Zvcm09InRyYW5zbGF0ZSgxMTY0LDI1MjIpIj48dXNlIHhsaW5rOmhyZWY9IiNyZWN0LTAiLz48L2c+CjxnIHRyYW5zZm9ybT0idHJhbnNsYXRlKDEyNjEsMjUyMikiPjx1c2UgeGxpbms6aHJlZj0iI2xiLTAiLz48L2c+CjxnIHRyYW5zZm9ybT0idHJhbnNsYXRlKDE0NTUsMjUyMikiPjx1c2UgeGxpbms6aHJlZj0iI3J0LTAiLz48L2c+CjxnIHRyYW5zZm9ybT0idHJhbnNsYXRlKDE1NTIsMjUyMikiPjx1c2UgeGxpbms6aHJlZj0iI3JlY3QtMCIvPjwvZz4KPGcgdHJhbnNmb3JtPSJ0cmFuc2xhdGUoMTY0OSwyNTIyKSI+PHVzZSB4bGluazpocmVmPSIjbHQtMCIvPjwvZz4KPGcgdHJhbnNmb3JtPSJ0cmFuc2xhdGUoMTg0MywyNTIyKSI+PHVzZSB4bGluazpocmVmPSIjcnQtMCIvPjwvZz4KPGcgdHJhbnNmb3JtPSJ0cmFuc2xhdGUoMTk0MCwyNTIyKSI+PHVzZSB4bGluazpocmVmPSIjcmVjdC0wIi8+PC9nPgo8ZyB0cmFuc2Zvcm09InRyYW5zbGF0ZSgyMDM3LDI1MjIpIj48dXNlIHhsaW5rOmhyZWY9IiNsLTAiLz48L2c+CjxnIHRyYW5zZm9ybT0idHJhbnNsYXRlKDIyMzEsMjUyMikiPjx1c2UgeGxpbms6aHJlZj0iI3JiLTAiLz48L2c+CjxnIHRyYW5zZm9ybT0idHJhbnNsYXRlKDIzMjgsMjUyMikiPjx1c2UgeGxpbms6aHJlZj0iI2wtMCIvPjwvZz4KPGcgdHJhbnNmb3JtPSJ0cmFuc2xhdGUoMjYxOSwyNTIyKSI+PHVzZSB4bGluazpocmVmPSIjZW1wdHktMCIvPjwvZz4KPGcgdHJhbnNmb3JtPSJ0cmFuc2xhdGUoMjkxMCwyNTIyKSI+PHVzZSB4bGluazpocmVmPSIjcnQtMCIvPjwvZz4KPGcgdHJhbnNmb3JtPSJ0cmFuc2xhdGUoMzAwNywyNTIyKSI+PHVzZSB4bGluazpocmVmPSIjcmVjdC0wIi8+PC9nPgo8ZyB0cmFuc2Zvcm09InRyYW5zbGF0ZSgzMTA0LDI1MjIpIj48dXNlIHhsaW5rOmhyZWY9IiNyZWN0LTAiLz48L2c+CjxnIHRyYW5zZm9ybT0idHJhbnNsYXRlKDMyMDEsMjUyMikiPjx1c2UgeGxpbms6aHJlZj0iI25fcmItMCIvPjwvZz4KPGcgdHJhbnNmb3JtPSJ0cmFuc2xhdGUoMzI5OCwyNTIyKSI+PHVzZSB4bGluazpocmVmPSIjcmItMCIvPjwvZz4KPGcgdHJhbnNmb3JtPSJ0cmFuc2xhdGUoMzM5NSwyNTIyKSI+PHVzZSB4bGluazpocmVmPSIjcmVjdC0wIi8+PC9nPgo8ZyB0cmFuc2Zvcm09InRyYW5zbGF0ZSgzNDkyLDI1MjIpIj48dXNlIHhsaW5rOmhyZWY9IiNsdC0wIi8+PC9nPgo8ZyB0cmFuc2Zvcm09InRyYW5zbGF0ZSgwLDI2MTkpIj48dXNlIHhsaW5rOmhyZWY9IiNyZWN0LTAiLz48L2c+CjxnIHRyYW5zZm9ybT0idHJhbnNsYXRlKDE5NCwyNjE5KSI+PHVzZSB4bGluazpocmVmPSIjYi0wIi8+PC9nPgo8ZyB0cmFuc2Zvcm09InRyYW5zbGF0ZSgzODgsMjYxOSkiPjx1c2UgeGxpbms6aHJlZj0iI2VtcHR5LTAiLz48L2c+CjxnIHRyYW5zZm9ybT0idHJhbnNsYXRlKDY3OSwyNjE5KSI+PHVzZSB4bGluazpocmVmPSIjZW1wdHktMCIvPjwvZz4KPGcgdHJhbnNmb3JtPSJ0cmFuc2xhdGUoNzc2LDI2MTkpIj48dXNlIHhsaW5rOmhyZWY9IiNuX3JiLTAiLz48L2c+CjxnIHRyYW5zZm9ybT0idHJhbnNsYXRlKDg3MywyNjE5KSI+PHVzZSB4bGluazpocmVmPSIjYi0wIi8+PC9nPgo8ZyB0cmFuc2Zvcm09InRyYW5zbGF0ZSgxMDY3LDI2MTkpIj48dXNlIHhsaW5rOmhyZWY9IiNyZWN0LTAiLz48L2c+CjxnIHRyYW5zZm9ybT0idHJhbnNsYXRlKDExNjQsMjYxOSkiPjx1c2UgeGxpbms6aHJlZj0iI3JlY3QtMCIvPjwvZz4KPGcgdHJhbnNmb3JtPSJ0cmFuc2xhdGUoMTI2MSwyNjE5KSI+PHVzZSB4bGluazpocmVmPSIjcmVjdC0wIi8+PC9nPgo8ZyB0cmFuc2Zvcm09InRyYW5zbGF0ZSgxMzU4LDI2MTkpIj48dXNlIHhsaW5rOmhyZWY9IiNsLTAiLz48L2c+CjxnIHRyYW5zZm9ybT0idHJhbnNsYXRlKDE1NTIsMjYxOSkiPjx1c2UgeGxpbms6aHJlZj0iI3JlY3QtMCIvPjwvZz4KPGcgdHJhbnNmb3JtPSJ0cmFuc2xhdGUoMTc0NiwyNjE5KSI+PHVzZSB4bGluazpocmVmPSIjZW1wdHktMCIvPjwvZz4KPGcgdHJhbnNmb3JtPSJ0cmFuc2xhdGUoMjIzMSwyNjE5KSI+PHVzZSB4bGluazpocmVmPSIjdC0wIi8+PC9nPgo8ZyB0cmFuc2Zvcm09InRyYW5zbGF0ZSgyNjE5LDI2MTkpIj48dXNlIHhsaW5rOmhyZWY9IiNuX3JiLTAiLz48L2c+CjxnIHRyYW5zZm9ybT0idHJhbnNsYXRlKDI3MTYsMjYxOSkiPjx1c2UgeGxpbms6aHJlZj0iI3JiLTAiLz48L2c+CjxnIHRyYW5zZm9ybT0idHJhbnNsYXRlKDI4MTMsMjYxOSkiPjx1c2UgeGxpbms6aHJlZj0iI2xiLTAiLz48L2c+CjxnIHRyYW5zZm9ybT0idHJhbnNsYXRlKDMxMDQsMjYxOSkiPjx1c2UgeGxpbms6aHJlZj0iI3JlY3QtMCIvPjwvZz4KPGcgdHJhbnNmb3JtPSJ0cmFuc2xhdGUoMzIwMSwyNjE5KSI+PHVzZSB4bGluazpocmVmPSIjcmVjdC0wIi8+PC9nPgo8ZyB0cmFuc2Zvcm09InRyYW5zbGF0ZSgzMjk4LDI2MTkpIj48dXNlIHhsaW5rOmhyZWY9IiNyZWN0LTAiLz48L2c+CjxnIHRyYW5zZm9ybT0idHJhbnNsYXRlKDAsMjcxNikiPjx1c2UgeGxpbms6aHJlZj0iI3QtMCIvPjwvZz4KPGcgdHJhbnNmb3JtPSJ0cmFuc2xhdGUoMTk0LDI3MTYpIj48dXNlIHhsaW5rOmhyZWY9IiNydC0wIi8+PC9nPgo8ZyB0cmFuc2Zvcm09InRyYW5zbGF0ZSgyOTEsMjcxNikiPjx1c2UgeGxpbms6aHJlZj0iI2wtMCIvPjwvZz4KPGcgdHJhbnNmb3JtPSJ0cmFuc2xhdGUoNTgyLDI3MTYpIj48dXNlIHhsaW5rOmhyZWY9IiNlbXB0eS0wIi8+PC9nPgo8ZyB0cmFuc2Zvcm09InRyYW5zbGF0ZSg3NzYsMjcxNikiPjx1c2UgeGxpbms6aHJlZj0iI3JiLTAiLz48L2c+CjxnIHRyYW5zZm9ybT0idHJhbnNsYXRlKDg3MywyNzE2KSI+PHVzZSB4bGluazpocmVmPSIjcmVjdC0wIi8+PC9nPgo8ZyB0cmFuc2Zvcm09InRyYW5zbGF0ZSg5NzAsMjcxNikiPjx1c2UgeGxpbms6aHJlZj0iI25fcmItMCIvPjwvZz4KPGcgdHJhbnNmb3JtPSJ0cmFuc2xhdGUoMTA2NywyNzE2KSI+PHVzZSB4bGluazpocmVmPSIjcmVjdC0wIi8+PC9nPgo8ZyB0cmFuc2Zvcm09InRyYW5zbGF0ZSgxMjYxLDI3MTYpIj48dXNlIHhsaW5rOmhyZWY9IiNyZWN0LTAiLz48L2c+CjxnIHRyYW5zZm9ybT0idHJhbnNsYXRlKDE1NTIsMjcxNikiPjx1c2UgeGxpbms6aHJlZj0iI3JlY3QtMCIvPjwvZz4KPGcgdHJhbnNmb3JtPSJ0cmFuc2xhdGUoMTY0OSwyNzE2KSI+PHVzZSB4bGluazpocmVmPSIjbGItMCIvPjwvZz4KPGcgdHJhbnNmb3JtPSJ0cmFuc2xhdGUoMTc0NiwyNzE2KSI+PHVzZSB4bGluazpocmVmPSIjbl9yYi0wIi8+PC9nPgo8ZyB0cmFuc2Zvcm09InRyYW5zbGF0ZSgxODQzLDI3MTYpIj48dXNlIHhsaW5rOmhyZWY9IiNyYi0wIi8+PC9nPgo8ZyB0cmFuc2Zvcm09InRyYW5zbGF0ZSgxOTQwLDI3MTYpIj48dXNlIHhsaW5rOmhyZWY9IiNyZWN0LTAiLz48L2c+CjxnIHRyYW5zZm9ybT0idHJhbnNsYXRlKDIwMzcsMjcxNikiPjx1c2UgeGxpbms6aHJlZj0iI3JlY3QtMCIvPjwvZz4KPGcgdHJhbnNmb3JtPSJ0cmFuc2xhdGUoMjEzNCwyNzE2KSI+PHVzZSB4bGluazpocmVmPSIjbGItMCIvPjwvZz4KPGcgdHJhbnNmb3JtPSJ0cmFuc2xhdGUoMjQyNSwyNzE2KSI+PHVzZSB4bGluazpocmVmPSIjZW1wdHktMCIvPjwvZz4KPGcgdHJhbnNmb3JtPSJ0cmFuc2xhdGUoMjYxOSwyNzE2KSI+PHVzZSB4bGluazpocmVmPSIjci0wIi8+PC9nPgo8ZyB0cmFuc2Zvcm09InRyYW5zbGF0ZSgyNzE2LDI3MTYpIj48dXNlIHhsaW5rOmhyZWY9IiNyZWN0LTAiLz48L2c+CjxnIHRyYW5zZm9ybT0idHJhbnNsYXRlKDI4MTMsMjcxNikiPjx1c2UgeGxpbms6aHJlZj0iI3JlY3QtMCIvPjwvZz4KPGcgdHJhbnNmb3JtPSJ0cmFuc2xhdGUoMjkxMCwyNzE2KSI+PHVzZSB4bGluazpocmVmPSIjcmVjdC0wIi8+PC9nPgo8ZyB0cmFuc2Zvcm09InRyYW5zbGF0ZSgzMDA3LDI3MTYpIj48dXNlIHhsaW5rOmhyZWY9IiNyZWN0LTAiLz48L2c+CjxnIHRyYW5zZm9ybT0idHJhbnNsYXRlKDMxMDQsMjcxNikiPjx1c2UgeGxpbms6aHJlZj0iI3JlY3QtMCIvPjwvZz4KPGcgdHJhbnNmb3JtPSJ0cmFuc2xhdGUoMzIwMSwyNzE2KSI+PHVzZSB4bGluazpocmVmPSIjcmVjdC0wIi8+PC9nPgo8ZyB0cmFuc2Zvcm09InRyYW5zbGF0ZSgzMjk4LDI3MTYpIj48dXNlIHhsaW5rOmhyZWY9IiNyZWN0LTAiLz48L2c+CjxnIHRyYW5zZm9ybT0idHJhbnNsYXRlKDM0OTIsMjcxNikiPjx1c2UgeGxpbms6aHJlZj0iI2VtcHR5LTAiLz48L2c+CjxnIHRyYW5zZm9ybT0idHJhbnNsYXRlKDc3NiwyODEzKSI+PHVzZSB4bGluazpocmVmPSIjcmVjdC0wIi8+PC9nPgo8ZyB0cmFuc2Zvcm09InRyYW5zbGF0ZSg4NzMsMjgxMykiPjx1c2UgeGxpbms6aHJlZj0iI3JlY3QtMCIvPjwvZz4KPGcgdHJhbnNmb3JtPSJ0cmFuc2xhdGUoOTcwLDI4MTMpIj48dXNlIHhsaW5rOmhyZWY9IiNyZWN0LTAiLz48L2c+CjxnIHRyYW5zZm9ybT0idHJhbnNsYXRlKDEwNjcsMjgxMykiPjx1c2UgeGxpbms6aHJlZj0iI3JlY3QtMCIvPjwvZz4KPGcgdHJhbnNmb3JtPSJ0cmFuc2xhdGUoMTE2NCwyODEzKSI+PHVzZSB4bGluazpocmVmPSIjcmVjdC0wIi8+PC9nPgo8ZyB0cmFuc2Zvcm09InRyYW5zbGF0ZSgxMjYxLDI4MTMpIj48dXNlIHhsaW5rOmhyZWY9IiNyZWN0LTAiLz48L2c+CjxnIHRyYW5zZm9ybT0idHJhbnNsYXRlKDEzNTgsMjgxMykiPjx1c2UgeGxpbms6aHJlZj0iI2wtMCIvPjwvZz4KPGcgdHJhbnNmb3JtPSJ0cmFuc2xhdGUoMTU1MiwyODEzKSI+PHVzZSB4bGluazpocmVmPSIjcmVjdC0wIi8+PC9nPgo8ZyB0cmFuc2Zvcm09InRyYW5zbGF0ZSgxNjQ5LDI4MTMpIj48dXNlIHhsaW5rOmhyZWY9IiNyZWN0LTAiLz48L2c+CjxnIHRyYW5zZm9ybT0idHJhbnNsYXRlKDE3NDYsMjgxMykiPjx1c2UgeGxpbms6aHJlZj0iI3JlY3QtMCIvPjwvZz4KPGcgdHJhbnNmb3JtPSJ0cmFuc2xhdGUoMTg0MywyODEzKSI+PHVzZSB4bGluazpocmVmPSIjcmVjdC0wIi8+PC9nPgo8ZyB0cmFuc2Zvcm09InRyYW5zbGF0ZSgyMDM3LDI4MTMpIj48dXNlIHhsaW5rOmhyZWY9IiNydC0wIi8+PC9nPgo8ZyB0cmFuc2Zvcm09InRyYW5zbGF0ZSgyMTM0LDI4MTMpIj48dXNlIHhsaW5rOmhyZWY9IiNyZWN0LTAiLz48L2c+CjxnIHRyYW5zZm9ybT0idHJhbnNsYXRlKDIyMzEsMjgxMykiPjx1c2UgeGxpbms6aHJlZj0iI25fcmItMCIvPjwvZz4KPGcgdHJhbnNmb3JtPSJ0cmFuc2xhdGUoMjMyOCwyODEzKSI+PHVzZSB4bGluazpocmVmPSIjYi0wIi8+PC9nPgo8ZyB0cmFuc2Zvcm09InRyYW5zbGF0ZSgyNzE2LDI4MTMpIj48dXNlIHhsaW5rOmhyZWY9IiNyZWN0LTAiLz48L2c+CjxnIHRyYW5zZm9ybT0idHJhbnNsYXRlKDMxMDQsMjgxMykiPjx1c2UgeGxpbms6aHJlZj0iI3JlY3QtMCIvPjwvZz4KPGcgdHJhbnNmb3JtPSJ0cmFuc2xhdGUoMzIwMSwyODEzKSI+PHVzZSB4bGluazpocmVmPSIjcmVjdC0wIi8+PC9nPgo8ZyB0cmFuc2Zvcm09InRyYW5zbGF0ZSgzMjk4LDI4MTMpIj48dXNlIHhsaW5rOmhyZWY9IiNyZWN0LTAiLz48L2c+CjxnIHRyYW5zZm9ybT0idHJhbnNsYXRlKDMzOTUsMjgxMykiPjx1c2UgeGxpbms6aHJlZj0iI2wtMCIvPjwvZz4KPGcgdHJhbnNmb3JtPSJ0cmFuc2xhdGUoNzc2LDI5MTApIj48dXNlIHhsaW5rOmhyZWY9IiN0LTAiLz48L2c+CjxnIHRyYW5zZm9ybT0idHJhbnNsYXRlKDEwNjcsMjkxMCkiPjx1c2UgeGxpbms6aHJlZj0iI3QtMCIvPjwvZz4KPGcgdHJhbnNmb3JtPSJ0cmFuc2xhdGUoMTU1MiwyOTEwKSI+PHVzZSB4bGluazpocmVmPSIjdC0wIi8+PC9nPgo8ZyB0cmFuc2Zvcm09InRyYW5zbGF0ZSgxODQzLDI5MTApIj48dXNlIHhsaW5rOmhyZWY9IiNyZWN0LTAiLz48L2c+CjxnIHRyYW5zZm9ybT0idHJhbnNsYXRlKDIxMzQsMjkxMCkiPjx1c2UgeGxpbms6aHJlZj0iI3J0LTAiLz48L2c+CjxnIHRyYW5zZm9ybT0idHJhbnNsYXRlKDIyMzEsMjkxMCkiPjx1c2UgeGxpbms6aHJlZj0iI3JlY3QtMCIvPjwvZz4KPGcgdHJhbnNmb3JtPSJ0cmFuc2xhdGUoMjMyOCwyOTEwKSI+PHVzZSB4bGluazpocmVmPSIjcmVjdC0wIi8+PC9nPgo8ZyB0cmFuc2Zvcm09InRyYW5zbGF0ZSgyNDI1LDI5MTApIj48dXNlIHhsaW5rOmhyZWY9IiNyZWN0LTAiLz48L2c+CjxnIHRyYW5zZm9ybT0idHJhbnNsYXRlKDI1MjIsMjkxMCkiPjx1c2UgeGxpbms6aHJlZj0iI2wtMCIvPjwvZz4KPGcgdHJhbnNmb3JtPSJ0cmFuc2xhdGUoMjYxOSwyOTEwKSI+PHVzZSB4bGluazpocmVmPSIjbl9yYi0wIi8+PC9nPgo8ZyB0cmFuc2Zvcm09InRyYW5zbGF0ZSgyNzE2LDI5MTApIj48dXNlIHhsaW5rOmhyZWY9IiNyZWN0LTAiLz48L2c+CjxnIHRyYW5zZm9ybT0idHJhbnNsYXRlKDI5MTAsMjkxMCkiPjx1c2UgeGxpbms6aHJlZj0iI2VtcHR5LTAiLz48L2c+CjxnIHRyYW5zZm9ybT0idHJhbnNsYXRlKDMxMDQsMjkxMCkiPjx1c2UgeGxpbms6aHJlZj0iI3JlY3QtMCIvPjwvZz4KPGcgdHJhbnNmb3JtPSJ0cmFuc2xhdGUoMzIwMSwyOTEwKSI+PHVzZSB4bGluazpocmVmPSIjcmVjdC0wIi8+PC9nPgo8ZyB0cmFuc2Zvcm09InRyYW5zbGF0ZSgzMjk4LDI5MTApIj48dXNlIHhsaW5rOmhyZWY9IiNsdC0wIi8+PC9nPgo8ZyB0cmFuc2Zvcm09InRyYW5zbGF0ZSgzNDkyLDI5MTApIj48dXNlIHhsaW5rOmhyZWY9IiNiLTAiLz48L2c+CjxnIHRyYW5zZm9ybT0idHJhbnNsYXRlKDc3NiwzMDA3KSI+PHVzZSB4bGluazpocmVmPSIjbl9yYi0wIi8+PC9nPgo8ZyB0cmFuc2Zvcm09InRyYW5zbGF0ZSg4NzMsMzAwNykiPjx1c2UgeGxpbms6aHJlZj0iI2ItMCIvPjwvZz4KPGcgdHJhbnNmb3JtPSJ0cmFuc2xhdGUoMTE2NCwzMDA3KSI+PHVzZSB4bGluazpocmVmPSIjcmItMCIvPjwvZz4KPGcgdHJhbnNmb3JtPSJ0cmFuc2xhdGUoMTI2MSwzMDA3KSI+PHVzZSB4bGluazpocmVmPSIjbC0wIi8+PC9nPgo8ZyB0cmFuc2Zvcm09InRyYW5zbGF0ZSgxMzU4LDMwMDcpIj48dXNlIHhsaW5rOmhyZWY9IiNuX3JiLTAiLz48L2c+CjxnIHRyYW5zZm9ybT0idHJhbnNsYXRlKDE0NTUsMzAwNykiPjx1c2UgeGxpbms6aHJlZj0iI2ItMCIvPjwvZz4KPGcgdHJhbnNmb3JtPSJ0cmFuc2xhdGUoMTY0OSwzMDA3KSI+PHVzZSB4bGluazpocmVmPSIjYi0wIi8+PC9nPgo8ZyB0cmFuc2Zvcm09InRyYW5zbGF0ZSgxNzQ2LDMwMDcpIj48dXNlIHhsaW5rOmhyZWY9IiNuX3JiLTAiLz48L2c+CjxnIHRyYW5zZm9ybT0idHJhbnNsYXRlKDE4NDMsMzAwNykiPjx1c2UgeGxpbms6aHJlZj0iI3JlY3QtMCIvPjwvZz4KPGcgdHJhbnNmb3JtPSJ0cmFuc2xhdGUoMTk0MCwzMDA3KSI+PHVzZSB4bGluazpocmVmPSIjbGItMCIvPjwvZz4KPGcgdHJhbnNmb3JtPSJ0cmFuc2xhdGUoMjMyOCwzMDA3KSI+PHVzZSB4bGluazpocmVmPSIjcnQtMCIvPjwvZz4KPGcgdHJhbnNmb3JtPSJ0cmFuc2xhdGUoMjQyNSwzMDA3KSI+PHVzZSB4bGluazpocmVmPSIjbHQtMCIvPjwvZz4KPGcgdHJhbnNmb3JtPSJ0cmFuc2xhdGUoMjYxOSwzMDA3KSI+PHVzZSB4bGluazpocmVmPSIjcmItMCIvPjwvZz4KPGcgdHJhbnNmb3JtPSJ0cmFuc2xhdGUoMjcxNiwzMDA3KSI+PHVzZSB4bGluazpocmVmPSIjcmVjdC0wIi8+PC9nPgo8ZyB0cmFuc2Zvcm09InRyYW5zbGF0ZSgzMDA3LDMwMDcpIj48dXNlIHhsaW5rOmhyZWY9IiNuX3JiLTAiLz48L2c+CjxnIHRyYW5zZm9ybT0idHJhbnNsYXRlKDMxMDQsMzAwNykiPjx1c2UgeGxpbms6aHJlZj0iI3JlY3QtMCIvPjwvZz4KPGcgdHJhbnNmb3JtPSJ0cmFuc2xhdGUoMzIwMSwzMDA3KSI+PHVzZSB4bGluazpocmVmPSIjbHQtMCIvPjwvZz4KPGcgdHJhbnNmb3JtPSJ0cmFuc2xhdGUoMzQ5MiwzMDA3KSI+PHVzZSB4bGluazpocmVmPSIjdC0wIi8+PC9nPgo8ZyB0cmFuc2Zvcm09InRyYW5zbGF0ZSg3NzYsMzEwNCkiPjx1c2UgeGxpbms6aHJlZj0iI3JiLTAiLz48L2c+CjxnIHRyYW5zZm9ybT0idHJhbnNsYXRlKDg3MywzMTA0KSI+PHVzZSB4bGluazpocmVmPSIjbHQtMCIvPjwvZz4KPGcgdHJhbnNmb3JtPSJ0cmFuc2xhdGUoMTA2NywzMTA0KSI+PHVzZSB4bGluazpocmVmPSIjbl9yYi0wIi8+PC9nPgo8ZyB0cmFuc2Zvcm09InRyYW5zbGF0ZSgxMTY0LDMxMDQpIj48dXNlIHhsaW5rOmhyZWY9IiNyZWN0LTAiLz48L2c+CjxnIHRyYW5zZm9ybT0idHJhbnNsYXRlKDEzNTgsMzEwNCkiPjx1c2UgeGxpbms6aHJlZj0iI3ItMCIvPjwvZz4KPGcgdHJhbnNmb3JtPSJ0cmFuc2xhdGUoMTQ1NSwzMTA0KSI+PHVzZSB4bGluazpocmVmPSIjcmVjdC0wIi8+PC9nPgo8ZyB0cmFuc2Zvcm09InRyYW5zbGF0ZSgxNjQ5LDMxMDQpIj48dXNlIHhsaW5rOmhyZWY9IiNydC0wIi8+PC9nPgo8ZyB0cmFuc2Zvcm09InRyYW5zbGF0ZSgxNzQ2LDMxMDQpIj48dXNlIHhsaW5rOmhyZWY9IiNyZWN0LTAiLz48L2c+CjxnIHRyYW5zZm9ybT0idHJhbnNsYXRlKDE4NDMsMzEwNCkiPjx1c2UgeGxpbms6aHJlZj0iI3JlY3QtMCIvPjwvZz4KPGcgdHJhbnNmb3JtPSJ0cmFuc2xhdGUoMTk0MCwzMTA0KSI+PHVzZSB4bGluazpocmVmPSIjcmVjdC0wIi8+PC9nPgo8ZyB0cmFuc2Zvcm09InRyYW5zbGF0ZSgyMDM3LDMxMDQpIj48dXNlIHhsaW5rOmhyZWY9IiNsYi0wIi8+PC9nPgo8ZyB0cmFuc2Zvcm09InRyYW5zbGF0ZSgyNjE5LDMxMDQpIj48dXNlIHhsaW5rOmhyZWY9IiNyZWN0LTAiLz48L2c+CjxnIHRyYW5zZm9ybT0idHJhbnNsYXRlKDI3MTYsMzEwNCkiPjx1c2UgeGxpbms6aHJlZj0iI3JlY3QtMCIvPjwvZz4KPGcgdHJhbnNmb3JtPSJ0cmFuc2xhdGUoMjgxMywzMTA0KSI+PHVzZSB4bGluazpocmVmPSIjcmVjdC0wIi8+PC9nPgo8ZyB0cmFuc2Zvcm09InRyYW5zbGF0ZSgyOTEwLDMxMDQpIj48dXNlIHhsaW5rOmhyZWY9IiNyZWN0LTAiLz48L2c+CjxnIHRyYW5zZm9ybT0idHJhbnNsYXRlKDMwMDcsMzEwNCkiPjx1c2UgeGxpbms6aHJlZj0iI3JlY3QtMCIvPjwvZz4KPGcgdHJhbnNmb3JtPSJ0cmFuc2xhdGUoMzEwNCwzMTA0KSI+PHVzZSB4bGluazpocmVmPSIjbHQtMCIvPjwvZz4KPGcgdHJhbnNmb3JtPSJ0cmFuc2xhdGUoMzM5NSwzMTA0KSI+PHVzZSB4bGluazpocmVmPSIjZW1wdHktMCIvPjwvZz4KPGcgdHJhbnNmb3JtPSJ0cmFuc2xhdGUoNzc2LDMyMDEpIj48dXNlIHhsaW5rOmhyZWY9IiN0LTAiLz48L2c+CjxnIHRyYW5zZm9ybT0idHJhbnNsYXRlKDk3MCwzMjAxKSI+PHVzZSB4bGluazpocmVmPSIjci0wIi8+PC9nPgo8ZyB0cmFuc2Zvcm09InRyYW5zbGF0ZSgxMDY3LDMyMDEpIj48dXNlIHhsaW5rOmhyZWY9IiNyZWN0LTAiLz48L2c+CjxnIHRyYW5zZm9ybT0idHJhbnNsYXRlKDExNjQsMzIwMSkiPjx1c2UgeGxpbms6aHJlZj0iI3JlY3QtMCIvPjwvZz4KPGcgdHJhbnNmb3JtPSJ0cmFuc2xhdGUoMTQ1NSwzMjAxKSI+PHVzZSB4bGluazpocmVmPSIjdC0wIi8+PC9nPgo8ZyB0cmFuc2Zvcm09InRyYW5zbGF0ZSgxNzQ2LDMyMDEpIj48dXNlIHhsaW5rOmhyZWY9IiNyZWN0LTAiLz48L2c+CjxnIHRyYW5zZm9ybT0idHJhbnNsYXRlKDE4NDMsMzIwMSkiPjx1c2UgeGxpbms6aHJlZj0iI3JlY3QtMCIvPjwvZz4KPGcgdHJhbnNmb3JtPSJ0cmFuc2xhdGUoMjAzNywzMjAxKSI+PHVzZSB4bGluazpocmVmPSIjcmVjdC0wIi8+PC9nPgo8ZyB0cmFuc2Zvcm09InRyYW5zbGF0ZSgyMzI4LDMyMDEpIj48dXNlIHhsaW5rOmhyZWY9IiNlbXB0eS0wIi8+PC9nPgo8ZyB0cmFuc2Zvcm09InRyYW5zbGF0ZSgyNTIyLDMyMDEpIj48dXNlIHhsaW5rOmhyZWY9IiNuX3JiLTAiLz48L2c+CjxnIHRyYW5zZm9ybT0idHJhbnNsYXRlKDI2MTksMzIwMSkiPjx1c2UgeGxpbms6aHJlZj0iI3JlY3QtMCIvPjwvZz4KPGcgdHJhbnNmb3JtPSJ0cmFuc2xhdGUoMjcxNiwzMjAxKSI+PHVzZSB4bGluazpocmVmPSIjcmVjdC0wIi8+PC9nPgo8ZyB0cmFuc2Zvcm09InRyYW5zbGF0ZSgyOTEwLDMyMDEpIj48dXNlIHhsaW5rOmhyZWY9IiNydC0wIi8+PC9nPgo8ZyB0cmFuc2Zvcm09InRyYW5zbGF0ZSgzMDA3LDMyMDEpIj48dXNlIHhsaW5rOmhyZWY9IiNyZWN0LTAiLz48L2c+CjxnIHRyYW5zZm9ybT0idHJhbnNsYXRlKDMxMDQsMzIwMSkiPjx1c2UgeGxpbms6aHJlZj0iI25fcmItMCIvPjwvZz4KPGcgdHJhbnNmb3JtPSJ0cmFuc2xhdGUoMzIwMSwzMjAxKSI+PHVzZSB4bGluazpocmVmPSIjYi0wIi8+PC9nPgo8ZyB0cmFuc2Zvcm09InRyYW5zbGF0ZSg4NzMsMzI5OCkiPjx1c2UgeGxpbms6aHJlZj0iI2VtcHR5LTAiLz48L2c+CjxnIHRyYW5zZm9ybT0idHJhbnNsYXRlKDExNjQsMzI5OCkiPjx1c2UgeGxpbms6aHJlZj0iI3JlY3QtMCIvPjwvZz4KPGcgdHJhbnNmb3JtPSJ0cmFuc2xhdGUoMTI2MSwzMjk4KSI+PHVzZSB4bGluazpocmVmPSIjbC0wIi8+PC9nPgo8ZyB0cmFuc2Zvcm09InRyYW5zbGF0ZSgxNTUyLDMyOTgpIj48dXNlIHhsaW5rOmhyZWY9IiNyYi0wIi8+PC9nPgo8ZyB0cmFuc2Zvcm09InRyYW5zbGF0ZSgxNjQ5LDMyOTgpIj48dXNlIHhsaW5rOmhyZWY9IiNyZWN0LTAiLz48L2c+CjxnIHRyYW5zZm9ybT0idHJhbnNsYXRlKDE3NDYsMzI5OCkiPjx1c2UgeGxpbms6aHJlZj0iI3JlY3QtMCIvPjwvZz4KPGcgdHJhbnNmb3JtPSJ0cmFuc2xhdGUoMTg0MywzMjk4KSI+PHVzZSB4bGluazpocmVmPSIjbHQtMCIvPjwvZz4KPGcgdHJhbnNmb3JtPSJ0cmFuc2xhdGUoMTk0MCwzMjk4KSI+PHVzZSB4bGluazpocmVmPSIjbl9yYi0wIi8+PC9nPgo8ZyB0cmFuc2Zvcm09InRyYW5zbGF0ZSgyMDM3LDMyOTgpIj48dXNlIHhsaW5rOmhyZWY9IiNyZWN0LTAiLz48L2c+CjxnIHRyYW5zZm9ybT0idHJhbnNsYXRlKDIxMzQsMzI5OCkiPjx1c2UgeGxpbms6aHJlZj0iI25fcmItMCIvPjwvZz4KPGcgdHJhbnNmb3JtPSJ0cmFuc2xhdGUoMjIzMSwzMjk4KSI+PHVzZSB4bGluazpocmVmPSIjYi0wIi8+PC9nPgo8ZyB0cmFuc2Zvcm09InRyYW5zbGF0ZSgyNDI1LDMyOTgpIj48dXNlIHhsaW5rOmhyZWY9IiNyLTAiLz48L2c+CjxnIHRyYW5zZm9ybT0idHJhbnNsYXRlKDI1MjIsMzI5OCkiPjx1c2UgeGxpbms6aHJlZj0iI3JlY3QtMCIvPjwvZz4KPGcgdHJhbnNmb3JtPSJ0cmFuc2xhdGUoMjYxOSwzMjk4KSI+PHVzZSB4bGluazpocmVmPSIjcmVjdC0wIi8+PC9nPgo8ZyB0cmFuc2Zvcm09InRyYW5zbGF0ZSgyNzE2LDMyOTgpIj48dXNlIHhsaW5rOmhyZWY9IiNsdC0wIi8+PC9nPgo8ZyB0cmFuc2Zvcm09InRyYW5zbGF0ZSgzMDA3LDMyOTgpIj48dXNlIHhsaW5rOmhyZWY9IiNyZWN0LTAiLz48L2c+CjxnIHRyYW5zZm9ybT0idHJhbnNsYXRlKDMxMDQsMzI5OCkiPjx1c2UgeGxpbms6aHJlZj0iI3JlY3QtMCIvPjwvZz4KPGcgdHJhbnNmb3JtPSJ0cmFuc2xhdGUoMzIwMSwzMjk4KSI+PHVzZSB4bGluazpocmVmPSIjcmVjdC0wIi8+PC9nPgo8ZyB0cmFuc2Zvcm09InRyYW5zbGF0ZSgzMjk4LDMyOTgpIj48dXNlIHhsaW5rOmhyZWY9IiNyZWN0LTAiLz48L2c+CjxnIHRyYW5zZm9ybT0idHJhbnNsYXRlKDMzOTUsMzI5OCkiPjx1c2UgeGxpbms6aHJlZj0iI3JlY3QtMCIvPjwvZz4KPGcgdHJhbnNmb3JtPSJ0cmFuc2xhdGUoMzQ5MiwzMjk4KSI+PHVzZSB4bGluazpocmVmPSIjbGItMCIvPjwvZz4KPGcgdHJhbnNmb3JtPSJ0cmFuc2xhdGUoODczLDMzOTUpIj48dXNlIHhsaW5rOmhyZWY9IiNuX3JiLTAiLz48L2c+CjxnIHRyYW5zZm9ybT0idHJhbnNsYXRlKDk3MCwzMzk1KSI+PHVzZSB4bGluazpocmVmPSIjcmItMCIvPjwvZz4KPGcgdHJhbnNmb3JtPSJ0cmFuc2xhdGUoMTA2NywzMzk1KSI+PHVzZSB4bGluazpocmVmPSIjcmVjdC0wIi8+PC9nPgo8ZyB0cmFuc2Zvcm09InRyYW5zbGF0ZSgxMTY0LDMzOTUpIj48dXNlIHhsaW5rOmhyZWY9IiNyZWN0LTAiLz48L2c+CjxnIHRyYW5zZm9ybT0idHJhbnNsYXRlKDEzNTgsMzM5NSkiPjx1c2UgeGxpbms6aHJlZj0iI2VtcHR5LTAiLz48L2c+CjxnIHRyYW5zZm9ybT0idHJhbnNsYXRlKDE1NTIsMzM5NSkiPjx1c2UgeGxpbms6aHJlZj0iI3QtMCIvPjwvZz4KPGcgdHJhbnNmb3JtPSJ0cmFuc2xhdGUoMTk0MCwzMzk1KSI+PHVzZSB4bGluazpocmVmPSIjci0wIi8+PC9nPgo8ZyB0cmFuc2Zvcm09InRyYW5zbGF0ZSgyMDM3LDMzOTUpIj48dXNlIHhsaW5rOmhyZWY9IiNyZWN0LTAiLz48L2c+CjxnIHRyYW5zZm9ybT0idHJhbnNsYXRlKDIxMzQsMzM5NSkiPjx1c2UgeGxpbms6aHJlZj0iI3JlY3QtMCIvPjwvZz4KPGcgdHJhbnNmb3JtPSJ0cmFuc2xhdGUoMjIzMSwzMzk1KSI+PHVzZSB4bGluazpocmVmPSIjcmVjdC0wIi8+PC9nPgo8ZyB0cmFuc2Zvcm09InRyYW5zbGF0ZSgyMzI4LDMzOTUpIj48dXNlIHhsaW5rOmhyZWY9IiNsLTAiLz48L2c+CjxnIHRyYW5zZm9ybT0idHJhbnNsYXRlKDI2MTksMzM5NSkiPjx1c2UgeGxpbms6aHJlZj0iI3JlY3QtMCIvPjwvZz4KPGcgdHJhbnNmb3JtPSJ0cmFuc2xhdGUoMzAwNywzMzk1KSI+PHVzZSB4bGluazpocmVmPSIjcmVjdC0wIi8+PC9nPgo8ZyB0cmFuc2Zvcm09InRyYW5zbGF0ZSgzMjAxLDMzOTUpIj48dXNlIHhsaW5rOmhyZWY9IiNydC0wIi8+PC9nPgo8ZyB0cmFuc2Zvcm09InRyYW5zbGF0ZSgzMjk4LDMzOTUpIj48dXNlIHhsaW5rOmhyZWY9IiNyZWN0LTAiLz48L2c+CjxnIHRyYW5zZm9ybT0idHJhbnNsYXRlKDMzOTUsMzM5NSkiPjx1c2UgeGxpbms6aHJlZj0iI3JlY3QtMCIvPjwvZz4KPGcgdHJhbnNmb3JtPSJ0cmFuc2xhdGUoMzQ5MiwzMzk1KSI+PHVzZSB4bGluazpocmVmPSIjcmVjdC0wIi8+PC9nPgo8ZyB0cmFuc2Zvcm09InRyYW5zbGF0ZSg4NzMsMzQ5MikiPjx1c2UgeGxpbms6aHJlZj0iI3ItMCIvPjwvZz4KPGcgdHJhbnNmb3JtPSJ0cmFuc2xhdGUoOTcwLDM0OTIpIj48dXNlIHhsaW5rOmhyZWY9IiNsdC0wIi8+PC9nPgo8ZyB0cmFuc2Zvcm09InRyYW5zbGF0ZSgxMTY0LDM0OTIpIj48dXNlIHhsaW5rOmhyZWY9IiNydC0wIi8+PC9nPgo8ZyB0cmFuc2Zvcm09InRyYW5zbGF0ZSgxMjYxLDM0OTIpIj48dXNlIHhsaW5rOmhyZWY9IiNsLTAiLz48L2c+CjxnIHRyYW5zZm9ybT0idHJhbnNsYXRlKDE2NDksMzQ5MikiPjx1c2UgeGxpbms6aHJlZj0iI2VtcHR5LTAiLz48L2c+CjxnIHRyYW5zZm9ybT0idHJhbnNsYXRlKDE4NDMsMzQ5MikiPjx1c2UgeGxpbms6aHJlZj0iI2VtcHR5LTAiLz48L2c+CjxnIHRyYW5zZm9ybT0idHJhbnNsYXRlKDIxMzQsMzQ5MikiPjx1c2UgeGxpbms6aHJlZj0iI3J0LTAiLz48L2c+CjxnIHRyYW5zZm9ybT0idHJhbnNsYXRlKDIyMzEsMzQ5MikiPjx1c2UgeGxpbms6aHJlZj0iI2x0LTAiLz48L2c+CjxnIHRyYW5zZm9ybT0idHJhbnNsYXRlKDI1MjIsMzQ5MikiPjx1c2UgeGxpbms6aHJlZj0iI3ItMCIvPjwvZz4KPGcgdHJhbnNmb3JtPSJ0cmFuc2xhdGUoMjYxOSwzNDkyKSI+PHVzZSB4bGluazpocmVmPSIjcmVjdC0wIi8+PC9nPgo8ZyB0cmFuc2Zvcm09InRyYW5zbGF0ZSgyNzE2LDM0OTIpIj48dXNlIHhsaW5rOmhyZWY9IiNsLTAiLz48L2c+CjxnIHRyYW5zZm9ybT0idHJhbnNsYXRlKDMwMDcsMzQ5MikiPjx1c2UgeGxpbms6aHJlZj0iI3QtMCIvPjwvZz4KPGcgdHJhbnNmb3JtPSJ0cmFuc2xhdGUoMzQ5MiwzNDkyKSI+PHVzZSB4bGluazpocmVmPSIjdC0wIi8+PC9nPgo8dXNlIGZpbGwtcnVsZT0iZXZlbm9kZCIgdHJhbnNmb3JtPSJ0cmFuc2xhdGUoMCwwKSIgeGxpbms6aHJlZj0iI3BvaW50LTAiLz4KPHVzZSBmaWxsLXJ1bGU9ImV2ZW5vZGQiIHRyYW5zZm9ybT0idHJhbnNsYXRlKDI4ODAsMCkiIHhsaW5rOmhyZWY9IiNwb2ludC0wIi8+Cjx1c2UgZmlsbC1ydWxlPSJldmVub2RkIiB0cmFuc2Zvcm09InRyYW5zbGF0ZSgwLDI4ODApIiB4bGluazpocmVmPSIjcG9pbnQtMCIvPgogICAgPC9nPgogIDwvc3ZnPg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2" name="Picture 6" descr="https://img.setka.io/clients/ihN63X3GPpwHGoUWGJ3XfC32GauJoi5d/post_images/kh90ch-2022122010230555.jp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2097" y="5095835"/>
            <a:ext cx="1685218" cy="1685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4545559" y="5581084"/>
            <a:ext cx="23684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hlinkClick r:id="rId10"/>
              </a:rPr>
              <a:t>https://</a:t>
            </a:r>
            <a:r>
              <a:rPr lang="ru-RU" dirty="0" smtClean="0">
                <a:hlinkClick r:id="rId10"/>
              </a:rPr>
              <a:t>clck.ru/34R4qY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0873" y="5150628"/>
            <a:ext cx="1071590" cy="1071590"/>
          </a:xfrm>
          <a:prstGeom prst="rect">
            <a:avLst/>
          </a:prstGeom>
        </p:spPr>
      </p:pic>
      <p:sp>
        <p:nvSpPr>
          <p:cNvPr id="36" name="Стрелка: вправо 25">
            <a:extLst>
              <a:ext uri="{FF2B5EF4-FFF2-40B4-BE49-F238E27FC236}">
                <a16:creationId xmlns:a16="http://schemas.microsoft.com/office/drawing/2014/main" xmlns="" id="{B9B62CA0-9AA7-4989-BBAF-3EB44B51173A}"/>
              </a:ext>
            </a:extLst>
          </p:cNvPr>
          <p:cNvSpPr/>
          <p:nvPr/>
        </p:nvSpPr>
        <p:spPr bwMode="auto">
          <a:xfrm>
            <a:off x="488874" y="269764"/>
            <a:ext cx="7411915" cy="406265"/>
          </a:xfrm>
          <a:prstGeom prst="rightArrow">
            <a:avLst>
              <a:gd name="adj1" fmla="val 100000"/>
              <a:gd name="adj2" fmla="val 2730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>
              <a:lnSpc>
                <a:spcPct val="85000"/>
              </a:lnSpc>
              <a:tabLst>
                <a:tab pos="7416800" algn="l"/>
              </a:tabLst>
            </a:pPr>
            <a:r>
              <a:rPr lang="en-US" sz="2400" b="1" dirty="0" smtClean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ЦИФРОВ</a:t>
            </a:r>
            <a:r>
              <a:rPr lang="ru-RU" sz="2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ОЙ СЕРВИС</a:t>
            </a:r>
            <a:r>
              <a:rPr lang="en-US" sz="2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«</a:t>
            </a:r>
            <a:r>
              <a:rPr lang="ru-RU" sz="2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НАЧИНАЙЗЕР</a:t>
            </a:r>
            <a:r>
              <a:rPr lang="en-US" sz="2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» </a:t>
            </a:r>
            <a:endParaRPr lang="ru-RU" sz="2400" b="1" dirty="0">
              <a:solidFill>
                <a:srgbClr val="28458D"/>
              </a:solidFill>
              <a:latin typeface="Calibri" panose="020F0502020204030204" pitchFamily="34" charset="0"/>
              <a:cs typeface="Open Sans Condense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5795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Текст 2"/>
          <p:cNvSpPr txBox="1">
            <a:spLocks/>
          </p:cNvSpPr>
          <p:nvPr/>
        </p:nvSpPr>
        <p:spPr>
          <a:xfrm>
            <a:off x="2839742" y="1266952"/>
            <a:ext cx="3958896" cy="11310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>
              <a:lnSpc>
                <a:spcPct val="90000"/>
              </a:lnSpc>
              <a:spcBef>
                <a:spcPts val="600"/>
              </a:spcBef>
              <a:buClr>
                <a:srgbClr val="2D3494"/>
              </a:buClr>
              <a:buFont typeface="Wingdings" panose="05000000000000000000" pitchFamily="2" charset="2"/>
              <a:buChar char="ü"/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2D3494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0000"/>
                    <a:lumOff val="10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одержание структурировано по урокам в соответствии с программами обучения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0000"/>
                    <a:lumOff val="10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 системе учебников «Школа России».</a:t>
            </a:r>
          </a:p>
        </p:txBody>
      </p:sp>
      <p:grpSp>
        <p:nvGrpSpPr>
          <p:cNvPr id="4100" name="Группа 4099"/>
          <p:cNvGrpSpPr/>
          <p:nvPr/>
        </p:nvGrpSpPr>
        <p:grpSpPr>
          <a:xfrm>
            <a:off x="251253" y="3041139"/>
            <a:ext cx="5844747" cy="608879"/>
            <a:chOff x="477214" y="3144189"/>
            <a:chExt cx="5844747" cy="608879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1389961" y="3168293"/>
              <a:ext cx="4932000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ru-RU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2C4F8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Более</a:t>
              </a:r>
              <a:r>
                <a:rPr kumimoji="0" lang="en-US" alt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C4F8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150 </a:t>
              </a:r>
              <a:r>
                <a:rPr kumimoji="0" lang="en-US" altLang="ru-RU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2C4F8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видео</a:t>
              </a:r>
              <a:r>
                <a:rPr kumimoji="0" lang="en-US" alt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C4F8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en-US" alt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с </a:t>
              </a:r>
              <a:r>
                <a:rPr kumimoji="0" lang="en-US" altLang="ru-RU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понятным</a:t>
              </a:r>
              <a:r>
                <a:rPr kumimoji="0" lang="en-US" alt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en-US" altLang="ru-RU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объяснением</a:t>
              </a:r>
              <a:r>
                <a:rPr kumimoji="0" lang="en-US" alt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en-US" altLang="ru-RU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материала</a:t>
              </a:r>
              <a:r>
                <a:rPr kumimoji="0" lang="en-US" alt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ru-RU" alt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и вопросы к видео.</a:t>
              </a:r>
              <a:endParaRPr kumimoji="0" lang="en-US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0" name="Рисунок 2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214" y="3144189"/>
              <a:ext cx="571429" cy="571429"/>
            </a:xfrm>
            <a:prstGeom prst="rect">
              <a:avLst/>
            </a:prstGeom>
          </p:spPr>
        </p:pic>
      </p:grpSp>
      <p:grpSp>
        <p:nvGrpSpPr>
          <p:cNvPr id="4097" name="Группа 4096"/>
          <p:cNvGrpSpPr/>
          <p:nvPr/>
        </p:nvGrpSpPr>
        <p:grpSpPr>
          <a:xfrm>
            <a:off x="251253" y="4308423"/>
            <a:ext cx="5838398" cy="584775"/>
            <a:chOff x="483563" y="4765993"/>
            <a:chExt cx="5838398" cy="584775"/>
          </a:xfrm>
        </p:grpSpPr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563" y="4823819"/>
              <a:ext cx="558730" cy="406349"/>
            </a:xfrm>
            <a:prstGeom prst="rect">
              <a:avLst/>
            </a:prstGeom>
          </p:spPr>
        </p:pic>
        <p:sp>
          <p:nvSpPr>
            <p:cNvPr id="32" name="Прямоугольник 31"/>
            <p:cNvSpPr/>
            <p:nvPr/>
          </p:nvSpPr>
          <p:spPr>
            <a:xfrm>
              <a:off x="1389961" y="4765993"/>
              <a:ext cx="4932000" cy="58477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C4F8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И</a:t>
              </a:r>
              <a:r>
                <a:rPr kumimoji="0" lang="ru-RU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2C4F8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нтерактивные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C4F8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задания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базового и повышенного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у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ровней сложности.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96" name="Группа 4095"/>
          <p:cNvGrpSpPr/>
          <p:nvPr/>
        </p:nvGrpSpPr>
        <p:grpSpPr>
          <a:xfrm>
            <a:off x="251253" y="4863262"/>
            <a:ext cx="5690222" cy="609489"/>
            <a:chOff x="477214" y="5609043"/>
            <a:chExt cx="5690222" cy="609489"/>
          </a:xfrm>
        </p:grpSpPr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214" y="5609043"/>
              <a:ext cx="571429" cy="571429"/>
            </a:xfrm>
            <a:prstGeom prst="rect">
              <a:avLst/>
            </a:prstGeom>
          </p:spPr>
        </p:pic>
        <p:sp>
          <p:nvSpPr>
            <p:cNvPr id="63" name="Прямоугольник 62"/>
            <p:cNvSpPr/>
            <p:nvPr/>
          </p:nvSpPr>
          <p:spPr>
            <a:xfrm>
              <a:off x="1389961" y="5633757"/>
              <a:ext cx="4777475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C4F8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Увлекательные игры, ребусы,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дополнительные сведения по теме.</a:t>
              </a:r>
            </a:p>
          </p:txBody>
        </p:sp>
      </p:grpSp>
      <p:grpSp>
        <p:nvGrpSpPr>
          <p:cNvPr id="4102" name="Группа 4101"/>
          <p:cNvGrpSpPr/>
          <p:nvPr/>
        </p:nvGrpSpPr>
        <p:grpSpPr>
          <a:xfrm>
            <a:off x="359189" y="3686833"/>
            <a:ext cx="5736811" cy="584775"/>
            <a:chOff x="585150" y="4006997"/>
            <a:chExt cx="5736811" cy="584775"/>
          </a:xfrm>
        </p:grpSpPr>
        <p:sp>
          <p:nvSpPr>
            <p:cNvPr id="31" name="Прямоугольник 30"/>
            <p:cNvSpPr/>
            <p:nvPr/>
          </p:nvSpPr>
          <p:spPr>
            <a:xfrm>
              <a:off x="1389961" y="4006997"/>
              <a:ext cx="4932000" cy="58477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2C4F8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Пошаговый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C4F8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2C4F8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алгоритм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C4F8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2C4F8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разбора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C4F8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2C4F8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заданий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C4F8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из учебника и рабочей тетради.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101" name="Рисунок 4100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5150" y="4040109"/>
              <a:ext cx="355556" cy="431746"/>
            </a:xfrm>
            <a:prstGeom prst="rect">
              <a:avLst/>
            </a:prstGeom>
          </p:spPr>
        </p:pic>
      </p:grpSp>
      <p:pic>
        <p:nvPicPr>
          <p:cNvPr id="24" name="Рисунок 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65269" y="3063126"/>
            <a:ext cx="5527143" cy="3107968"/>
          </a:xfrm>
          <a:prstGeom prst="rect">
            <a:avLst/>
          </a:prstGeom>
        </p:spPr>
      </p:pic>
      <p:sp>
        <p:nvSpPr>
          <p:cNvPr id="27" name="Прямоугольник 26"/>
          <p:cNvSpPr/>
          <p:nvPr/>
        </p:nvSpPr>
        <p:spPr>
          <a:xfrm>
            <a:off x="8246579" y="870389"/>
            <a:ext cx="15427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b="1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ва модуля</a:t>
            </a:r>
          </a:p>
        </p:txBody>
      </p:sp>
      <p:grpSp>
        <p:nvGrpSpPr>
          <p:cNvPr id="29" name="Группа 28"/>
          <p:cNvGrpSpPr/>
          <p:nvPr/>
        </p:nvGrpSpPr>
        <p:grpSpPr>
          <a:xfrm>
            <a:off x="7131793" y="1358608"/>
            <a:ext cx="1330654" cy="582453"/>
            <a:chOff x="1600200" y="2508252"/>
            <a:chExt cx="1330654" cy="667758"/>
          </a:xfrm>
        </p:grpSpPr>
        <p:sp>
          <p:nvSpPr>
            <p:cNvPr id="33" name="Скругленный прямоугольник 32"/>
            <p:cNvSpPr/>
            <p:nvPr/>
          </p:nvSpPr>
          <p:spPr>
            <a:xfrm>
              <a:off x="1600200" y="2508252"/>
              <a:ext cx="1330654" cy="667758"/>
            </a:xfrm>
            <a:prstGeom prst="roundRect">
              <a:avLst/>
            </a:prstGeom>
            <a:solidFill>
              <a:srgbClr val="5788D4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TextBox 30"/>
            <p:cNvSpPr txBox="1">
              <a:spLocks noChangeArrowheads="1"/>
            </p:cNvSpPr>
            <p:nvPr/>
          </p:nvSpPr>
          <p:spPr bwMode="auto">
            <a:xfrm>
              <a:off x="1710959" y="2622908"/>
              <a:ext cx="1108802" cy="468469"/>
            </a:xfrm>
            <a:prstGeom prst="roundRect">
              <a:avLst/>
            </a:prstGeom>
            <a:solidFill>
              <a:srgbClr val="E1EDFF"/>
            </a:solidFill>
            <a:ln>
              <a:noFill/>
            </a:ln>
            <a:effectLst>
              <a:glow rad="101600">
                <a:srgbClr val="4472C4">
                  <a:satMod val="175000"/>
                  <a:alpha val="40000"/>
                </a:srgbClr>
              </a:glow>
            </a:effec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b="1" i="0" u="none" strike="noStrike" kern="0" cap="none" spc="0" normalizeH="0" baseline="0" noProof="0" dirty="0">
                  <a:ln>
                    <a:noFill/>
                  </a:ln>
                  <a:solidFill>
                    <a:srgbClr val="FF6D42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Я учусь</a:t>
              </a:r>
            </a:p>
          </p:txBody>
        </p:sp>
      </p:grpSp>
      <p:grpSp>
        <p:nvGrpSpPr>
          <p:cNvPr id="35" name="Группа 34"/>
          <p:cNvGrpSpPr/>
          <p:nvPr/>
        </p:nvGrpSpPr>
        <p:grpSpPr>
          <a:xfrm>
            <a:off x="9472815" y="1380021"/>
            <a:ext cx="2228132" cy="613576"/>
            <a:chOff x="1600200" y="2508253"/>
            <a:chExt cx="1173981" cy="703439"/>
          </a:xfrm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1600200" y="2508253"/>
              <a:ext cx="1173981" cy="703439"/>
            </a:xfrm>
            <a:prstGeom prst="roundRect">
              <a:avLst/>
            </a:prstGeom>
            <a:solidFill>
              <a:srgbClr val="5788D4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" name="TextBox 30"/>
            <p:cNvSpPr txBox="1">
              <a:spLocks noChangeArrowheads="1"/>
            </p:cNvSpPr>
            <p:nvPr/>
          </p:nvSpPr>
          <p:spPr bwMode="auto">
            <a:xfrm>
              <a:off x="1646807" y="2622908"/>
              <a:ext cx="1067151" cy="468469"/>
            </a:xfrm>
            <a:prstGeom prst="roundRect">
              <a:avLst/>
            </a:prstGeom>
            <a:solidFill>
              <a:srgbClr val="E1EDFF"/>
            </a:solidFill>
            <a:ln>
              <a:noFill/>
            </a:ln>
            <a:effectLst>
              <a:glow rad="101600">
                <a:srgbClr val="4472C4">
                  <a:satMod val="175000"/>
                  <a:alpha val="40000"/>
                </a:srgbClr>
              </a:glow>
            </a:effec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b="1" i="0" u="none" strike="noStrike" kern="0" cap="none" spc="0" normalizeH="0" baseline="0" noProof="0" dirty="0">
                  <a:ln>
                    <a:noFill/>
                  </a:ln>
                  <a:solidFill>
                    <a:srgbClr val="FF6D42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Проверяю себя</a:t>
              </a: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6885214" y="2069398"/>
            <a:ext cx="203115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сский язык, 1 класс</a:t>
            </a:r>
          </a:p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ка, 1 класс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9571305" y="2172765"/>
            <a:ext cx="20311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ка, 4 класс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Стрелка: вправо 25">
            <a:extLst>
              <a:ext uri="{FF2B5EF4-FFF2-40B4-BE49-F238E27FC236}">
                <a16:creationId xmlns:a16="http://schemas.microsoft.com/office/drawing/2014/main" xmlns="" id="{B9B62CA0-9AA7-4989-BBAF-3EB44B51173A}"/>
              </a:ext>
            </a:extLst>
          </p:cNvPr>
          <p:cNvSpPr/>
          <p:nvPr/>
        </p:nvSpPr>
        <p:spPr bwMode="auto">
          <a:xfrm>
            <a:off x="488874" y="269764"/>
            <a:ext cx="7411915" cy="406265"/>
          </a:xfrm>
          <a:prstGeom prst="rightArrow">
            <a:avLst>
              <a:gd name="adj1" fmla="val 100000"/>
              <a:gd name="adj2" fmla="val 2730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>
              <a:lnSpc>
                <a:spcPct val="85000"/>
              </a:lnSpc>
              <a:tabLst>
                <a:tab pos="7416800" algn="l"/>
              </a:tabLst>
            </a:pPr>
            <a:r>
              <a:rPr lang="en-US" sz="2400" b="1" dirty="0" smtClean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ЦИФРОВ</a:t>
            </a:r>
            <a:r>
              <a:rPr lang="ru-RU" sz="2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ОЙ СЕРВИС</a:t>
            </a:r>
            <a:r>
              <a:rPr lang="en-US" sz="2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«</a:t>
            </a:r>
            <a:r>
              <a:rPr lang="ru-RU" sz="2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НАЧИНАЙЗЕР</a:t>
            </a:r>
            <a:r>
              <a:rPr lang="en-US" sz="2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» </a:t>
            </a:r>
            <a:endParaRPr lang="ru-RU" sz="2400" b="1" dirty="0">
              <a:solidFill>
                <a:srgbClr val="28458D"/>
              </a:solidFill>
              <a:latin typeface="Calibri" panose="020F0502020204030204" pitchFamily="34" charset="0"/>
              <a:cs typeface="Open Sans Condensed" pitchFamily="2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76968" y="5522302"/>
            <a:ext cx="16391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2C4F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накомиться и получить </a:t>
            </a:r>
            <a:r>
              <a:rPr lang="ru-RU" sz="1600" b="1" dirty="0" err="1">
                <a:solidFill>
                  <a:srgbClr val="2C4F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мо</a:t>
            </a:r>
            <a:r>
              <a:rPr lang="ru-RU" sz="1600" b="1" dirty="0">
                <a:solidFill>
                  <a:srgbClr val="2C4F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доступ  </a:t>
            </a: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8"/>
          <a:srcRect t="2017" b="2067"/>
          <a:stretch/>
        </p:blipFill>
        <p:spPr>
          <a:xfrm>
            <a:off x="282830" y="1055055"/>
            <a:ext cx="1051242" cy="143810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36450" y="1022259"/>
            <a:ext cx="1059064" cy="141984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23708" y="1462843"/>
            <a:ext cx="1022287" cy="141984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5" name="Овал 44">
            <a:extLst>
              <a:ext uri="{FF2B5EF4-FFF2-40B4-BE49-F238E27FC236}">
                <a16:creationId xmlns:a16="http://schemas.microsoft.com/office/drawing/2014/main" xmlns="" id="{5C9F0620-8FC4-4207-8EE5-29F05DC89AC2}"/>
              </a:ext>
            </a:extLst>
          </p:cNvPr>
          <p:cNvSpPr/>
          <p:nvPr/>
        </p:nvSpPr>
        <p:spPr>
          <a:xfrm>
            <a:off x="8469789" y="2383985"/>
            <a:ext cx="727954" cy="724711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48" name="Picture 6" descr="https://img.setka.io/clients/ihN63X3GPpwHGoUWGJ3XfC32GauJoi5d/post_images/kh90ch-2022122010230555.jp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6162" y="5134708"/>
            <a:ext cx="1685218" cy="1685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Прямоугольник 52"/>
          <p:cNvSpPr/>
          <p:nvPr/>
        </p:nvSpPr>
        <p:spPr>
          <a:xfrm>
            <a:off x="4674090" y="6253755"/>
            <a:ext cx="23684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hlinkClick r:id="rId12"/>
              </a:rPr>
              <a:t>https://</a:t>
            </a:r>
            <a:r>
              <a:rPr lang="ru-RU" dirty="0" smtClean="0">
                <a:hlinkClick r:id="rId12"/>
              </a:rPr>
              <a:t>clck.ru/34R4qY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54" name="Рисунок 5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8061" y="4833428"/>
            <a:ext cx="1071590" cy="1071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40307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175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EF126606-7983-883F-C348-9D25D2917A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581" y="384453"/>
            <a:ext cx="9197217" cy="501483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9647518" y="2290344"/>
            <a:ext cx="2501900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2400" b="1" dirty="0" err="1">
                <a:solidFill>
                  <a:srgbClr val="28458D"/>
                </a:solidFill>
                <a:cs typeface="Open Sans Condensed" pitchFamily="2" charset="0"/>
              </a:rPr>
              <a:t>Демо</a:t>
            </a:r>
            <a:r>
              <a:rPr lang="ru-RU" sz="2400" b="1" dirty="0">
                <a:solidFill>
                  <a:srgbClr val="28458D"/>
                </a:solidFill>
                <a:cs typeface="Open Sans Condensed" pitchFamily="2" charset="0"/>
              </a:rPr>
              <a:t>-доступ </a:t>
            </a:r>
          </a:p>
        </p:txBody>
      </p:sp>
      <p:pic>
        <p:nvPicPr>
          <p:cNvPr id="10" name="Picture 6" descr="https://img.setka.io/clients/ihN63X3GPpwHGoUWGJ3XfC32GauJoi5d/post_images/kh90ch-2022122010230555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5277" y="3912516"/>
            <a:ext cx="1685218" cy="1685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9647518" y="5399286"/>
            <a:ext cx="23684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hlinkClick r:id="rId4"/>
              </a:rPr>
              <a:t>https://</a:t>
            </a:r>
            <a:r>
              <a:rPr lang="ru-RU" dirty="0" smtClean="0">
                <a:hlinkClick r:id="rId4"/>
              </a:rPr>
              <a:t>clck.ru/34R4qY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878" y="2750301"/>
            <a:ext cx="1071590" cy="1071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05688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175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15938" y="287893"/>
            <a:ext cx="25019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err="1">
                <a:solidFill>
                  <a:srgbClr val="28458D"/>
                </a:solidFill>
                <a:cs typeface="Open Sans Condensed" pitchFamily="2" charset="0"/>
              </a:rPr>
              <a:t>Демо</a:t>
            </a:r>
            <a:r>
              <a:rPr lang="ru-RU" sz="2400" b="1" dirty="0">
                <a:solidFill>
                  <a:srgbClr val="28458D"/>
                </a:solidFill>
                <a:cs typeface="Open Sans Condensed" pitchFamily="2" charset="0"/>
              </a:rPr>
              <a:t>-доступ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3808" y="1188720"/>
            <a:ext cx="5167259" cy="2826677"/>
          </a:xfrm>
          <a:prstGeom prst="round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17838" y="792804"/>
            <a:ext cx="8121861" cy="3762720"/>
          </a:xfrm>
          <a:prstGeom prst="roundRect">
            <a:avLst/>
          </a:prstGeom>
        </p:spPr>
      </p:pic>
      <p:pic>
        <p:nvPicPr>
          <p:cNvPr id="12" name="Picture 6" descr="https://img.setka.io/clients/ihN63X3GPpwHGoUWGJ3XfC32GauJoi5d/post_images/kh90ch-2022122010230555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12" y="1925774"/>
            <a:ext cx="1685218" cy="1685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403293" y="3426526"/>
            <a:ext cx="23684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hlinkClick r:id="rId5"/>
              </a:rPr>
              <a:t>https://</a:t>
            </a:r>
            <a:r>
              <a:rPr lang="ru-RU" dirty="0" smtClean="0">
                <a:hlinkClick r:id="rId5"/>
              </a:rPr>
              <a:t>clck.ru/34R4qY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38" y="669318"/>
            <a:ext cx="1071590" cy="1071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16507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175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15938" y="287893"/>
            <a:ext cx="25019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err="1">
                <a:solidFill>
                  <a:srgbClr val="28458D"/>
                </a:solidFill>
                <a:cs typeface="Open Sans Condensed" pitchFamily="2" charset="0"/>
              </a:rPr>
              <a:t>Демо</a:t>
            </a:r>
            <a:r>
              <a:rPr lang="ru-RU" sz="2400" b="1" dirty="0">
                <a:solidFill>
                  <a:srgbClr val="28458D"/>
                </a:solidFill>
                <a:cs typeface="Open Sans Condensed" pitchFamily="2" charset="0"/>
              </a:rPr>
              <a:t>-доступ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2360" y="287893"/>
            <a:ext cx="7771343" cy="4251205"/>
          </a:xfrm>
          <a:prstGeom prst="round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599" y="2949337"/>
            <a:ext cx="5350912" cy="3251958"/>
          </a:xfrm>
          <a:prstGeom prst="roundRect">
            <a:avLst/>
          </a:prstGeom>
        </p:spPr>
      </p:pic>
      <p:pic>
        <p:nvPicPr>
          <p:cNvPr id="11" name="Picture 6" descr="https://img.setka.io/clients/ihN63X3GPpwHGoUWGJ3XfC32GauJoi5d/post_images/kh90ch-2022122010230555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332620" y="472559"/>
            <a:ext cx="1685218" cy="1685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609599" y="2044163"/>
            <a:ext cx="23684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hlinkClick r:id="rId5"/>
              </a:rPr>
              <a:t>https://</a:t>
            </a:r>
            <a:r>
              <a:rPr lang="ru-RU" dirty="0" smtClean="0">
                <a:hlinkClick r:id="rId5"/>
              </a:rPr>
              <a:t>clck.ru/34R4qY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38" y="681158"/>
            <a:ext cx="1071590" cy="1071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59928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175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1659</TotalTime>
  <Words>578</Words>
  <Application>Microsoft Office PowerPoint</Application>
  <PresentationFormat>Произвольный</PresentationFormat>
  <Paragraphs>102</Paragraphs>
  <Slides>15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7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осмотр своих результатов сразу после выполнения задания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ашкина Екатерина Борисовна</dc:creator>
  <cp:lastModifiedBy>Гость Видеостудия</cp:lastModifiedBy>
  <cp:revision>928</cp:revision>
  <cp:lastPrinted>2022-10-12T10:48:05Z</cp:lastPrinted>
  <dcterms:created xsi:type="dcterms:W3CDTF">2020-02-25T09:30:21Z</dcterms:created>
  <dcterms:modified xsi:type="dcterms:W3CDTF">2023-05-15T11:35:11Z</dcterms:modified>
</cp:coreProperties>
</file>